
<file path=[Content_Types].xml><?xml version="1.0" encoding="utf-8"?>
<Types xmlns="http://schemas.openxmlformats.org/package/2006/content-types">
  <Override PartName="/ppt/slideMasters/slideMaster3.xml" ContentType="application/vnd.openxmlformats-officedocument.presentationml.slideMaster+xml"/>
  <Override PartName="/ppt/notesSlides/notesSlide2.xml" ContentType="application/vnd.openxmlformats-officedocument.presentationml.notesSlide+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Default Extension="emf" ContentType="image/x-emf"/>
  <Override PartName="/ppt/slideLayouts/slideLayout25.xml" ContentType="application/vnd.openxmlformats-officedocument.presentationml.slideLayout+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tiff" ContentType="image/tiff"/>
  <Override PartName="/ppt/comments/comment1.xml" ContentType="application/vnd.openxmlformats-officedocument.presentationml.comments+xml"/>
  <Override PartName="/ppt/notesSlides/notesSlide8.xml" ContentType="application/vnd.openxmlformats-officedocument.presentationml.notesSlide+xml"/>
  <Override PartName="/ppt/notesSlides/notesSlide11.xml" ContentType="application/vnd.openxmlformats-officedocument.presentationml.notesSlide+xml"/>
  <Default Extension="vml" ContentType="application/vnd.openxmlformats-officedocument.vmlDrawing"/>
  <Override PartName="/ppt/notesSlides/notesSlide6.xml" ContentType="application/vnd.openxmlformats-officedocument.presentationml.notesSlide+xml"/>
  <Override PartName="/ppt/tags/tag13.xml" ContentType="application/vnd.openxmlformats-officedocument.presentationml.tags+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70" r:id="rId2"/>
    <p:sldMasterId id="2147483782" r:id="rId3"/>
  </p:sldMasterIdLst>
  <p:notesMasterIdLst>
    <p:notesMasterId r:id="rId23"/>
  </p:notesMasterIdLst>
  <p:sldIdLst>
    <p:sldId id="283" r:id="rId4"/>
    <p:sldId id="308" r:id="rId5"/>
    <p:sldId id="284" r:id="rId6"/>
    <p:sldId id="285" r:id="rId7"/>
    <p:sldId id="286" r:id="rId8"/>
    <p:sldId id="288" r:id="rId9"/>
    <p:sldId id="287" r:id="rId10"/>
    <p:sldId id="289" r:id="rId11"/>
    <p:sldId id="290" r:id="rId12"/>
    <p:sldId id="291" r:id="rId13"/>
    <p:sldId id="292" r:id="rId14"/>
    <p:sldId id="302" r:id="rId15"/>
    <p:sldId id="294" r:id="rId16"/>
    <p:sldId id="295" r:id="rId17"/>
    <p:sldId id="303" r:id="rId18"/>
    <p:sldId id="297" r:id="rId19"/>
    <p:sldId id="278" r:id="rId20"/>
    <p:sldId id="279" r:id="rId21"/>
    <p:sldId id="301" r:id="rId22"/>
  </p:sldIdLst>
  <p:sldSz cx="9144000" cy="6858000" type="screen4x3"/>
  <p:notesSz cx="6662738" cy="9926638"/>
  <p:defaultTex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oop001" initials="o"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AF6FF"/>
    <a:srgbClr val="01306A"/>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640" autoAdjust="0"/>
    <p:restoredTop sz="94627" autoAdjust="0"/>
  </p:normalViewPr>
  <p:slideViewPr>
    <p:cSldViewPr>
      <p:cViewPr>
        <p:scale>
          <a:sx n="80" d="100"/>
          <a:sy n="80" d="100"/>
        </p:scale>
        <p:origin x="-864" y="48"/>
      </p:cViewPr>
      <p:guideLst>
        <p:guide orient="horz" pos="1008"/>
        <p:guide orient="horz" pos="3648"/>
        <p:guide orient="horz" pos="3840"/>
        <p:guide orient="horz" pos="2640"/>
        <p:guide pos="2880"/>
        <p:guide pos="288"/>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1-07-29T00:20:20.998" idx="1">
    <p:pos x="5603" y="165"/>
    <p:text/>
  </p:cm>
</p:cmLst>
</file>

<file path=ppt/drawings/_rels/vmlDrawing1.v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image" Target="../media/image40.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887663" cy="496888"/>
          </a:xfrm>
          <a:prstGeom prst="rect">
            <a:avLst/>
          </a:prstGeom>
        </p:spPr>
        <p:txBody>
          <a:bodyPr vert="horz" lIns="91440" tIns="45720" rIns="91440" bIns="45720" rtlCol="0"/>
          <a:lstStyle>
            <a:lvl1pPr algn="l">
              <a:defRPr sz="1200">
                <a:latin typeface="Arial" charset="0"/>
                <a:ea typeface="+mn-ea"/>
                <a:cs typeface="Arial" charset="0"/>
              </a:defRPr>
            </a:lvl1pPr>
          </a:lstStyle>
          <a:p>
            <a:pPr>
              <a:defRPr/>
            </a:pPr>
            <a:endParaRPr lang="da-DK"/>
          </a:p>
        </p:txBody>
      </p:sp>
      <p:sp>
        <p:nvSpPr>
          <p:cNvPr id="3" name="Pladsholder til dato 2"/>
          <p:cNvSpPr>
            <a:spLocks noGrp="1"/>
          </p:cNvSpPr>
          <p:nvPr>
            <p:ph type="dt" idx="1"/>
          </p:nvPr>
        </p:nvSpPr>
        <p:spPr>
          <a:xfrm>
            <a:off x="3773488" y="0"/>
            <a:ext cx="2887662" cy="496888"/>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06BAE25F-E354-446D-8C8C-4F0EDA71689F}" type="datetime1">
              <a:rPr lang="da-DK"/>
              <a:pPr/>
              <a:t>29-07-2011</a:t>
            </a:fld>
            <a:endParaRPr lang="da-DK"/>
          </a:p>
        </p:txBody>
      </p:sp>
      <p:sp>
        <p:nvSpPr>
          <p:cNvPr id="4" name="Pladsholder til diasbillede 3"/>
          <p:cNvSpPr>
            <a:spLocks noGrp="1" noRot="1" noChangeAspect="1"/>
          </p:cNvSpPr>
          <p:nvPr>
            <p:ph type="sldImg" idx="2"/>
          </p:nvPr>
        </p:nvSpPr>
        <p:spPr>
          <a:xfrm>
            <a:off x="849313" y="744538"/>
            <a:ext cx="4965700" cy="3722687"/>
          </a:xfrm>
          <a:prstGeom prst="rect">
            <a:avLst/>
          </a:prstGeom>
          <a:noFill/>
          <a:ln w="12700">
            <a:solidFill>
              <a:prstClr val="black"/>
            </a:solidFill>
          </a:ln>
        </p:spPr>
        <p:txBody>
          <a:bodyPr vert="horz" lIns="91440" tIns="45720" rIns="91440" bIns="45720" rtlCol="0" anchor="ctr"/>
          <a:lstStyle/>
          <a:p>
            <a:pPr lvl="0"/>
            <a:endParaRPr lang="da-DK" noProof="0" smtClean="0"/>
          </a:p>
        </p:txBody>
      </p:sp>
      <p:sp>
        <p:nvSpPr>
          <p:cNvPr id="5" name="Pladsholder til noter 4"/>
          <p:cNvSpPr>
            <a:spLocks noGrp="1"/>
          </p:cNvSpPr>
          <p:nvPr>
            <p:ph type="body" sz="quarter" idx="3"/>
          </p:nvPr>
        </p:nvSpPr>
        <p:spPr>
          <a:xfrm>
            <a:off x="666750" y="4714875"/>
            <a:ext cx="5329238" cy="4467225"/>
          </a:xfrm>
          <a:prstGeom prst="rect">
            <a:avLst/>
          </a:prstGeom>
        </p:spPr>
        <p:txBody>
          <a:bodyPr vert="horz" lIns="91440" tIns="45720" rIns="91440" bIns="45720" rtlCol="0">
            <a:normAutofit/>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p>
        </p:txBody>
      </p:sp>
      <p:sp>
        <p:nvSpPr>
          <p:cNvPr id="6" name="Pladsholder til sidefod 5"/>
          <p:cNvSpPr>
            <a:spLocks noGrp="1"/>
          </p:cNvSpPr>
          <p:nvPr>
            <p:ph type="ftr" sz="quarter" idx="4"/>
          </p:nvPr>
        </p:nvSpPr>
        <p:spPr>
          <a:xfrm>
            <a:off x="0" y="9428163"/>
            <a:ext cx="2887663" cy="496887"/>
          </a:xfrm>
          <a:prstGeom prst="rect">
            <a:avLst/>
          </a:prstGeom>
        </p:spPr>
        <p:txBody>
          <a:bodyPr vert="horz" lIns="91440" tIns="45720" rIns="91440" bIns="45720" rtlCol="0" anchor="b"/>
          <a:lstStyle>
            <a:lvl1pPr algn="l">
              <a:defRPr sz="1200">
                <a:latin typeface="Arial" charset="0"/>
                <a:ea typeface="+mn-ea"/>
                <a:cs typeface="Arial" charset="0"/>
              </a:defRPr>
            </a:lvl1pPr>
          </a:lstStyle>
          <a:p>
            <a:pPr>
              <a:defRPr/>
            </a:pPr>
            <a:endParaRPr lang="da-DK"/>
          </a:p>
        </p:txBody>
      </p:sp>
      <p:sp>
        <p:nvSpPr>
          <p:cNvPr id="7" name="Pladsholder til diasnummer 6"/>
          <p:cNvSpPr>
            <a:spLocks noGrp="1"/>
          </p:cNvSpPr>
          <p:nvPr>
            <p:ph type="sldNum" sz="quarter" idx="5"/>
          </p:nvPr>
        </p:nvSpPr>
        <p:spPr>
          <a:xfrm>
            <a:off x="3773488" y="9428163"/>
            <a:ext cx="2887662" cy="4968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9EF3E7C5-0CB9-4CF5-AB52-49E6EFA44214}" type="slidenum">
              <a:rPr lang="da-DK"/>
              <a:pPr/>
              <a:t>‹#›</a:t>
            </a:fld>
            <a:endParaRPr lang="da-DK"/>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0" charset="-128"/>
        <a:cs typeface="ＭＳ Ｐゴシック" pitchFamily="-110"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0"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0"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0"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0"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p:cNvSpPr>
          <p:nvPr>
            <p:ph type="sldImg"/>
          </p:nvPr>
        </p:nvSpPr>
        <p:spPr bwMode="auto">
          <a:xfrm>
            <a:off x="850900" y="744538"/>
            <a:ext cx="4962525" cy="3722687"/>
          </a:xfrm>
          <a:noFill/>
          <a:ln>
            <a:solidFill>
              <a:srgbClr val="000000"/>
            </a:solidFill>
            <a:miter lim="800000"/>
            <a:headEnd/>
            <a:tailEnd/>
          </a:ln>
        </p:spPr>
      </p:sp>
      <p:sp>
        <p:nvSpPr>
          <p:cNvPr id="12291"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mtClean="0">
                <a:ea typeface="ＭＳ Ｐゴシック" pitchFamily="34" charset="-128"/>
              </a:rPr>
              <a:t/>
            </a:r>
            <a:br>
              <a:rPr lang="en-US" smtClean="0">
                <a:ea typeface="ＭＳ Ｐゴシック" pitchFamily="34" charset="-128"/>
              </a:rPr>
            </a:br>
            <a:endParaRPr lang="en-US" smtClean="0">
              <a:ea typeface="ＭＳ Ｐゴシック" pitchFamily="34" charset="-128"/>
            </a:endParaRPr>
          </a:p>
          <a:p>
            <a:endParaRPr lang="en-US" smtClean="0">
              <a:ea typeface="ＭＳ Ｐゴシック" pitchFamily="34" charset="-128"/>
            </a:endParaRPr>
          </a:p>
        </p:txBody>
      </p:sp>
      <p:sp>
        <p:nvSpPr>
          <p:cNvPr id="12292" name="Slide Number Placeholder 3"/>
          <p:cNvSpPr>
            <a:spLocks noGrp="1"/>
          </p:cNvSpPr>
          <p:nvPr>
            <p:ph type="sldNum" sz="quarter" idx="5"/>
          </p:nvPr>
        </p:nvSpPr>
        <p:spPr bwMode="auto">
          <a:noFill/>
          <a:ln>
            <a:miter lim="800000"/>
            <a:headEnd/>
            <a:tailEnd/>
          </a:ln>
        </p:spPr>
        <p:txBody>
          <a:bodyPr/>
          <a:lstStyle/>
          <a:p>
            <a:fld id="{E18324B4-E77A-4692-B1EC-3D187B517E54}" type="slidenum">
              <a:rPr lang="en-GB"/>
              <a:pPr/>
              <a:t>4</a:t>
            </a:fld>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bwMode="auto">
          <a:noFill/>
          <a:ln>
            <a:miter lim="800000"/>
            <a:headEnd/>
            <a:tailEnd/>
          </a:ln>
        </p:spPr>
        <p:txBody>
          <a:bodyPr/>
          <a:lstStyle/>
          <a:p>
            <a:fld id="{53E3B283-AA96-4FB1-B890-7BA7274B4A8E}" type="slidenum">
              <a:rPr lang="en-US"/>
              <a:pPr/>
              <a:t>13</a:t>
            </a:fld>
            <a:endParaRPr lang="en-US"/>
          </a:p>
        </p:txBody>
      </p:sp>
      <p:sp>
        <p:nvSpPr>
          <p:cNvPr id="30723" name="Slide Image Placeholder 1"/>
          <p:cNvSpPr>
            <a:spLocks noGrp="1" noRot="1" noChangeAspect="1" noTextEdit="1"/>
          </p:cNvSpPr>
          <p:nvPr>
            <p:ph type="sldImg"/>
          </p:nvPr>
        </p:nvSpPr>
        <p:spPr bwMode="auto">
          <a:xfrm>
            <a:off x="852488" y="744538"/>
            <a:ext cx="4960937" cy="3721100"/>
          </a:xfrm>
          <a:noFill/>
          <a:ln>
            <a:solidFill>
              <a:srgbClr val="000000"/>
            </a:solidFill>
            <a:miter lim="800000"/>
            <a:headEnd/>
            <a:tailEnd/>
          </a:ln>
        </p:spPr>
      </p:sp>
      <p:sp>
        <p:nvSpPr>
          <p:cNvPr id="30724" name="Notes Placeholder 2"/>
          <p:cNvSpPr>
            <a:spLocks noGrp="1"/>
          </p:cNvSpPr>
          <p:nvPr>
            <p:ph type="body" idx="1"/>
          </p:nvPr>
        </p:nvSpPr>
        <p:spPr bwMode="auto">
          <a:xfrm>
            <a:off x="668338" y="4713288"/>
            <a:ext cx="5326062" cy="4468812"/>
          </a:xfrm>
          <a:noFill/>
        </p:spPr>
        <p:txBody>
          <a:bodyPr wrap="square" lIns="92040" tIns="46020" rIns="92040" bIns="46020" numCol="1" anchor="t" anchorCtr="0" compatLnSpc="1">
            <a:prstTxWarp prst="textNoShape">
              <a:avLst/>
            </a:prstTxWarp>
          </a:bodyPr>
          <a:lstStyle/>
          <a:p>
            <a:r>
              <a:rPr lang="en-US" smtClean="0">
                <a:ea typeface="ＭＳ Ｐゴシック" pitchFamily="34" charset="-128"/>
              </a:rPr>
              <a:t>When it comes to transportation, finding the optimal mix of air, sea-air and ocean is a major factor in reducing overall cost and carbon emissions. However, understanding the trade-offs and managing the risks posed by varying transit times can be challenging. </a:t>
            </a:r>
          </a:p>
          <a:p>
            <a:endParaRPr lang="en-US" smtClean="0">
              <a:ea typeface="ＭＳ Ｐゴシック" pitchFamily="34" charset="-128"/>
            </a:endParaRPr>
          </a:p>
          <a:p>
            <a:r>
              <a:rPr lang="en-US" smtClean="0">
                <a:ea typeface="ＭＳ Ｐゴシック" pitchFamily="34" charset="-128"/>
              </a:rPr>
              <a:t>Damco has a simplified way of helping you select the optimal transport mix based on days, cost and carbon rather than merely mode. We make the differences between transport types transparent, enabling you to make the right decisions for your cargo, optimizing the mix to meet your business needs. </a:t>
            </a:r>
          </a:p>
          <a:p>
            <a:endParaRPr lang="en-US" smtClean="0">
              <a:ea typeface="ＭＳ Ｐゴシック" pitchFamily="34" charset="-128"/>
            </a:endParaRPr>
          </a:p>
          <a:p>
            <a:r>
              <a:rPr lang="en-US" smtClean="0">
                <a:ea typeface="ＭＳ Ｐゴシック" pitchFamily="34" charset="-128"/>
              </a:rPr>
              <a:t>Our customers tell us this facilitates an informed discussion within their business, ensuring that buying, merchandising and logistics talk the same language, and are empowered to make the right supply chain decisions together.</a:t>
            </a:r>
          </a:p>
          <a:p>
            <a:endParaRPr lang="en-US" smtClean="0">
              <a:ea typeface="ＭＳ Ｐゴシック" pitchFamily="34" charset="-128"/>
            </a:endParaRPr>
          </a:p>
          <a:p>
            <a:r>
              <a:rPr lang="en-US" smtClean="0">
                <a:ea typeface="ＭＳ Ｐゴシック" pitchFamily="34" charset="-128"/>
              </a:rPr>
              <a:t>Once those decisions are made, up-to-date information and active exception handling reduce the risk of transport time changes, while our “one contact” approach reduces the complexity of managing a mix of air, sea-air and ocean. </a:t>
            </a:r>
          </a:p>
          <a:p>
            <a:endParaRPr lang="en-US" smtClean="0">
              <a:ea typeface="ＭＳ Ｐゴシック" pitchFamily="34" charset="-128"/>
            </a:endParaRPr>
          </a:p>
        </p:txBody>
      </p:sp>
      <p:sp>
        <p:nvSpPr>
          <p:cNvPr id="30725" name="Slide Number Placeholder 3"/>
          <p:cNvSpPr txBox="1">
            <a:spLocks noGrp="1"/>
          </p:cNvSpPr>
          <p:nvPr/>
        </p:nvSpPr>
        <p:spPr bwMode="auto">
          <a:xfrm>
            <a:off x="3775075" y="9428163"/>
            <a:ext cx="2886075" cy="496887"/>
          </a:xfrm>
          <a:prstGeom prst="rect">
            <a:avLst/>
          </a:prstGeom>
          <a:noFill/>
          <a:ln w="9525">
            <a:noFill/>
            <a:miter lim="800000"/>
            <a:headEnd/>
            <a:tailEnd/>
          </a:ln>
        </p:spPr>
        <p:txBody>
          <a:bodyPr lIns="92040" tIns="46020" rIns="92040" bIns="46020" anchor="b"/>
          <a:lstStyle/>
          <a:p>
            <a:pPr algn="r" defTabSz="920750"/>
            <a:fld id="{F0C457B9-39EE-4641-BA4C-3D6A7EBBF540}" type="slidenum">
              <a:rPr lang="en-US" sz="1000">
                <a:solidFill>
                  <a:srgbClr val="000000"/>
                </a:solidFill>
                <a:latin typeface="Verdana" pitchFamily="34" charset="0"/>
                <a:ea typeface="ＭＳ Ｐゴシック" pitchFamily="34" charset="-128"/>
              </a:rPr>
              <a:pPr algn="r" defTabSz="920750"/>
              <a:t>13</a:t>
            </a:fld>
            <a:endParaRPr lang="en-US" sz="1000">
              <a:solidFill>
                <a:srgbClr val="000000"/>
              </a:solidFill>
              <a:latin typeface="Verdana" pitchFamily="34" charset="0"/>
              <a:ea typeface="ＭＳ Ｐゴシック" pitchFamily="34"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p:cNvSpPr>
          <p:nvPr>
            <p:ph type="sldImg"/>
          </p:nvPr>
        </p:nvSpPr>
        <p:spPr bwMode="auto">
          <a:xfrm>
            <a:off x="850900" y="744538"/>
            <a:ext cx="4962525" cy="3722687"/>
          </a:xfrm>
          <a:noFill/>
          <a:ln>
            <a:solidFill>
              <a:srgbClr val="000000"/>
            </a:solidFill>
            <a:miter lim="800000"/>
            <a:headEnd/>
            <a:tailEnd/>
          </a:ln>
        </p:spPr>
      </p:sp>
      <p:sp>
        <p:nvSpPr>
          <p:cNvPr id="3" name="Notes Placeholder 2"/>
          <p:cNvSpPr>
            <a:spLocks noGrp="1"/>
          </p:cNvSpPr>
          <p:nvPr>
            <p:ph type="body" idx="1"/>
          </p:nvPr>
        </p:nvSpPr>
        <p:spPr/>
        <p:txBody>
          <a:bodyPr wrap="square" numCol="1" anchor="t" anchorCtr="0" compatLnSpc="1">
            <a:prstTxWarp prst="textNoShape">
              <a:avLst/>
            </a:prstTxWarp>
          </a:bodyPr>
          <a:lstStyle/>
          <a:p>
            <a:r>
              <a:rPr lang="en-US" sz="1000" smtClean="0">
                <a:latin typeface="Arial" charset="0"/>
                <a:ea typeface="ＭＳ Ｐゴシック" pitchFamily="34" charset="-128"/>
                <a:cs typeface="Arial" charset="0"/>
              </a:rPr>
              <a:t>DESTINATION SERVICES</a:t>
            </a:r>
          </a:p>
          <a:p>
            <a:r>
              <a:rPr lang="en-US" sz="1000" smtClean="0">
                <a:latin typeface="Arial" charset="0"/>
                <a:ea typeface="ＭＳ Ｐゴシック" pitchFamily="34" charset="-128"/>
                <a:cs typeface="Arial" charset="0"/>
              </a:rPr>
              <a:t>Our destination teams provide the services to ensure your produce is collected and delivered to the right place, on time and in full.</a:t>
            </a:r>
            <a:endParaRPr lang="en-US" smtClean="0">
              <a:ea typeface="ＭＳ Ｐゴシック" pitchFamily="34" charset="-128"/>
            </a:endParaRPr>
          </a:p>
        </p:txBody>
      </p:sp>
      <p:sp>
        <p:nvSpPr>
          <p:cNvPr id="32772" name="Slide Number Placeholder 3"/>
          <p:cNvSpPr>
            <a:spLocks noGrp="1"/>
          </p:cNvSpPr>
          <p:nvPr>
            <p:ph type="sldNum" sz="quarter" idx="5"/>
          </p:nvPr>
        </p:nvSpPr>
        <p:spPr bwMode="auto">
          <a:noFill/>
          <a:ln>
            <a:miter lim="800000"/>
            <a:headEnd/>
            <a:tailEnd/>
          </a:ln>
        </p:spPr>
        <p:txBody>
          <a:bodyPr/>
          <a:lstStyle/>
          <a:p>
            <a:fld id="{6A836F73-80CA-4915-92A8-6A33D825C8E5}" type="slidenum">
              <a:rPr lang="en-US" sz="1000"/>
              <a:pPr/>
              <a:t>14</a:t>
            </a:fld>
            <a:endParaRPr lang="en-US" sz="10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A7E432-E816-4562-BAF9-1E9D1CF05189}" type="slidenum">
              <a:rPr lang="en-GB">
                <a:solidFill>
                  <a:prstClr val="black"/>
                </a:solidFill>
                <a:cs typeface="Arial" charset="0"/>
              </a:rPr>
              <a:pPr fontAlgn="base">
                <a:spcBef>
                  <a:spcPct val="0"/>
                </a:spcBef>
                <a:spcAft>
                  <a:spcPct val="0"/>
                </a:spcAft>
                <a:defRPr/>
              </a:pPr>
              <a:t>15</a:t>
            </a:fld>
            <a:endParaRPr lang="en-GB">
              <a:solidFill>
                <a:prstClr val="black"/>
              </a:solidFill>
              <a:cs typeface="Arial" charset="0"/>
            </a:endParaRPr>
          </a:p>
        </p:txBody>
      </p:sp>
      <p:sp>
        <p:nvSpPr>
          <p:cNvPr id="27650" name="Rectangle 2"/>
          <p:cNvSpPr>
            <a:spLocks noGrp="1" noRot="1" noChangeAspect="1" noChangeArrowheads="1" noTextEdit="1"/>
          </p:cNvSpPr>
          <p:nvPr>
            <p:ph type="sldImg"/>
          </p:nvPr>
        </p:nvSpPr>
        <p:spPr bwMode="auto">
          <a:xfrm>
            <a:off x="850900" y="744538"/>
            <a:ext cx="4962525" cy="3722687"/>
          </a:xfrm>
          <a:noFill/>
          <a:ln>
            <a:solidFill>
              <a:srgbClr val="000000"/>
            </a:solidFill>
            <a:miter lim="800000"/>
            <a:headEnd/>
            <a:tailEnd/>
          </a:ln>
        </p:spPr>
      </p:sp>
      <p:sp>
        <p:nvSpPr>
          <p:cNvPr id="2765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lgn="ctr" eaLnBrk="1" hangingPunct="1">
              <a:spcBef>
                <a:spcPct val="15000"/>
              </a:spcBef>
            </a:pPr>
            <a:endParaRPr lang="da-DK" sz="1400" b="1" smtClean="0">
              <a:solidFill>
                <a:schemeClr val="bg1"/>
              </a:solidFill>
              <a:latin typeface="Arial" charset="0"/>
              <a:ea typeface="ＭＳ Ｐゴシック" pitchFamily="34" charset="-128"/>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p:cNvSpPr>
          <p:nvPr>
            <p:ph type="sldImg"/>
          </p:nvPr>
        </p:nvSpPr>
        <p:spPr bwMode="auto">
          <a:xfrm>
            <a:off x="850900" y="744538"/>
            <a:ext cx="4962525" cy="3722687"/>
          </a:xfrm>
          <a:noFill/>
          <a:ln>
            <a:solidFill>
              <a:srgbClr val="000000"/>
            </a:solidFill>
            <a:miter lim="800000"/>
            <a:headEnd/>
            <a:tailEnd/>
          </a:ln>
        </p:spPr>
      </p:sp>
      <p:sp>
        <p:nvSpPr>
          <p:cNvPr id="3" name="Notes Placeholder 2"/>
          <p:cNvSpPr>
            <a:spLocks noGrp="1"/>
          </p:cNvSpPr>
          <p:nvPr>
            <p:ph type="body" idx="1"/>
          </p:nvPr>
        </p:nvSpPr>
        <p:spPr/>
        <p:txBody>
          <a:bodyPr wrap="square" numCol="1" anchor="t" anchorCtr="0" compatLnSpc="1">
            <a:prstTxWarp prst="textNoShape">
              <a:avLst/>
            </a:prstTxWarp>
          </a:bodyPr>
          <a:lstStyle/>
          <a:p>
            <a:r>
              <a:rPr lang="en-US" sz="1000" smtClean="0">
                <a:latin typeface="Arial" charset="0"/>
                <a:ea typeface="ＭＳ Ｐゴシック" pitchFamily="34" charset="-128"/>
                <a:cs typeface="Arial" charset="0"/>
              </a:rPr>
              <a:t>We are experts in managing fresh produce logistics. We have on the ground presence and fresh produce expertise in all major export and import markets. A brief overview of our global capabilities (as of June 2010) is shown here.</a:t>
            </a:r>
            <a:endParaRPr lang="en-US" smtClean="0">
              <a:ea typeface="ＭＳ Ｐゴシック" pitchFamily="34" charset="-128"/>
            </a:endParaRPr>
          </a:p>
        </p:txBody>
      </p:sp>
      <p:sp>
        <p:nvSpPr>
          <p:cNvPr id="36868" name="Slide Number Placeholder 3"/>
          <p:cNvSpPr>
            <a:spLocks noGrp="1"/>
          </p:cNvSpPr>
          <p:nvPr>
            <p:ph type="sldNum" sz="quarter" idx="5"/>
          </p:nvPr>
        </p:nvSpPr>
        <p:spPr bwMode="auto">
          <a:noFill/>
          <a:ln>
            <a:miter lim="800000"/>
            <a:headEnd/>
            <a:tailEnd/>
          </a:ln>
        </p:spPr>
        <p:txBody>
          <a:bodyPr/>
          <a:lstStyle/>
          <a:p>
            <a:fld id="{63498824-612D-43F5-BCD0-49D5DCA3F289}" type="slidenum">
              <a:rPr lang="en-US" sz="1000"/>
              <a:pPr/>
              <a:t>16</a:t>
            </a:fld>
            <a:endParaRPr lang="en-US" sz="10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bwMode="auto">
          <a:noFill/>
          <a:ln>
            <a:miter lim="800000"/>
            <a:headEnd/>
            <a:tailEnd/>
          </a:ln>
        </p:spPr>
        <p:txBody>
          <a:bodyPr/>
          <a:lstStyle/>
          <a:p>
            <a:fld id="{96F35BA0-5C33-4262-92E8-8603A2AECFCA}" type="slidenum">
              <a:rPr lang="en-US"/>
              <a:pPr/>
              <a:t>17</a:t>
            </a:fld>
            <a:endParaRPr lang="en-US"/>
          </a:p>
        </p:txBody>
      </p:sp>
      <p:sp>
        <p:nvSpPr>
          <p:cNvPr id="46083" name="Rectangle 2"/>
          <p:cNvSpPr>
            <a:spLocks noGrp="1" noRot="1" noChangeAspect="1" noChangeArrowheads="1" noTextEdit="1"/>
          </p:cNvSpPr>
          <p:nvPr>
            <p:ph type="sldImg"/>
          </p:nvPr>
        </p:nvSpPr>
        <p:spPr bwMode="auto">
          <a:xfrm>
            <a:off x="852488" y="744538"/>
            <a:ext cx="4960937" cy="3721100"/>
          </a:xfrm>
          <a:noFill/>
          <a:ln>
            <a:solidFill>
              <a:srgbClr val="000000"/>
            </a:solidFill>
            <a:miter lim="800000"/>
            <a:headEnd/>
            <a:tailEnd/>
          </a:ln>
        </p:spPr>
      </p:sp>
      <p:sp>
        <p:nvSpPr>
          <p:cNvPr id="46084" name="Rectangle 3"/>
          <p:cNvSpPr>
            <a:spLocks noGrp="1" noChangeArrowheads="1"/>
          </p:cNvSpPr>
          <p:nvPr>
            <p:ph type="body" idx="1"/>
          </p:nvPr>
        </p:nvSpPr>
        <p:spPr bwMode="auto">
          <a:xfrm>
            <a:off x="668338" y="4713288"/>
            <a:ext cx="5326062" cy="4468812"/>
          </a:xfrm>
          <a:noFill/>
        </p:spPr>
        <p:txBody>
          <a:bodyPr wrap="square" lIns="92040" tIns="46020" rIns="92040" bIns="46020" numCol="1" anchor="t" anchorCtr="0" compatLnSpc="1">
            <a:prstTxWarp prst="textNoShape">
              <a:avLst/>
            </a:prstTxWarp>
          </a:bodyPr>
          <a:lstStyle/>
          <a:p>
            <a:pPr>
              <a:spcBef>
                <a:spcPct val="0"/>
              </a:spcBef>
            </a:pPr>
            <a:r>
              <a:rPr lang="da-DK" smtClean="0">
                <a:ea typeface="ＭＳ Ｐゴシック" pitchFamily="34" charset="-128"/>
              </a:rPr>
              <a:t>Please ensure not to show these logos to bigger groups, or in situations where competitors will be doing the same.</a:t>
            </a:r>
          </a:p>
        </p:txBody>
      </p:sp>
      <p:sp>
        <p:nvSpPr>
          <p:cNvPr id="46085" name="Slide Number Placeholder 3"/>
          <p:cNvSpPr txBox="1">
            <a:spLocks noGrp="1"/>
          </p:cNvSpPr>
          <p:nvPr/>
        </p:nvSpPr>
        <p:spPr bwMode="auto">
          <a:xfrm>
            <a:off x="3775075" y="9428163"/>
            <a:ext cx="2886075" cy="496887"/>
          </a:xfrm>
          <a:prstGeom prst="rect">
            <a:avLst/>
          </a:prstGeom>
          <a:noFill/>
          <a:ln w="9525">
            <a:noFill/>
            <a:miter lim="800000"/>
            <a:headEnd/>
            <a:tailEnd/>
          </a:ln>
        </p:spPr>
        <p:txBody>
          <a:bodyPr lIns="87723" tIns="43862" rIns="87723" bIns="43862" anchor="b"/>
          <a:lstStyle/>
          <a:p>
            <a:pPr algn="r" defTabSz="876300" eaLnBrk="0" hangingPunct="0">
              <a:spcBef>
                <a:spcPct val="50000"/>
              </a:spcBef>
            </a:pPr>
            <a:fld id="{BB9FC8AE-E06F-42EE-AA21-D000B5668120}" type="slidenum">
              <a:rPr lang="en-GB" sz="1000">
                <a:solidFill>
                  <a:srgbClr val="00215B"/>
                </a:solidFill>
                <a:latin typeface="Verdana" pitchFamily="34" charset="0"/>
                <a:ea typeface="ＭＳ Ｐゴシック" pitchFamily="34" charset="-128"/>
              </a:rPr>
              <a:pPr algn="r" defTabSz="876300" eaLnBrk="0" hangingPunct="0">
                <a:spcBef>
                  <a:spcPct val="50000"/>
                </a:spcBef>
              </a:pPr>
              <a:t>17</a:t>
            </a:fld>
            <a:endParaRPr lang="en-GB" sz="1000">
              <a:solidFill>
                <a:srgbClr val="00215B"/>
              </a:solidFill>
              <a:latin typeface="Verdana" pitchFamily="34" charset="0"/>
              <a:ea typeface="ＭＳ Ｐゴシック" pitchFamily="34" charset="-128"/>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bwMode="auto">
          <a:noFill/>
          <a:ln>
            <a:miter lim="800000"/>
            <a:headEnd/>
            <a:tailEnd/>
          </a:ln>
        </p:spPr>
        <p:txBody>
          <a:bodyPr/>
          <a:lstStyle/>
          <a:p>
            <a:fld id="{D326FD4E-E237-435A-9AA4-A2FADD2D1475}" type="slidenum">
              <a:rPr lang="en-US"/>
              <a:pPr/>
              <a:t>18</a:t>
            </a:fld>
            <a:endParaRPr lang="en-US"/>
          </a:p>
        </p:txBody>
      </p:sp>
      <p:sp>
        <p:nvSpPr>
          <p:cNvPr id="48131" name="Rectangle 6"/>
          <p:cNvSpPr>
            <a:spLocks noGrp="1" noRot="1" noChangeAspect="1" noChangeArrowheads="1" noTextEdit="1"/>
          </p:cNvSpPr>
          <p:nvPr>
            <p:ph type="sldImg"/>
          </p:nvPr>
        </p:nvSpPr>
        <p:spPr bwMode="auto">
          <a:xfrm>
            <a:off x="852488" y="744538"/>
            <a:ext cx="4960937" cy="3721100"/>
          </a:xfrm>
          <a:noFill/>
          <a:ln>
            <a:solidFill>
              <a:srgbClr val="000000"/>
            </a:solidFill>
            <a:miter lim="800000"/>
            <a:headEnd/>
            <a:tailEnd/>
          </a:ln>
        </p:spPr>
      </p:sp>
      <p:sp>
        <p:nvSpPr>
          <p:cNvPr id="48132" name="Rectangle 7"/>
          <p:cNvSpPr>
            <a:spLocks noGrp="1" noChangeArrowheads="1"/>
          </p:cNvSpPr>
          <p:nvPr>
            <p:ph type="body" idx="1"/>
          </p:nvPr>
        </p:nvSpPr>
        <p:spPr bwMode="auto">
          <a:xfrm>
            <a:off x="668338" y="4713288"/>
            <a:ext cx="5326062" cy="4468812"/>
          </a:xfrm>
          <a:noFill/>
        </p:spPr>
        <p:txBody>
          <a:bodyPr wrap="square" lIns="92040" tIns="46020" rIns="92040" bIns="46020" numCol="1" anchor="t" anchorCtr="0" compatLnSpc="1">
            <a:prstTxWarp prst="textNoShape">
              <a:avLst/>
            </a:prstTxWarp>
          </a:bodyPr>
          <a:lstStyle/>
          <a:p>
            <a:pPr>
              <a:spcBef>
                <a:spcPct val="0"/>
              </a:spcBef>
            </a:pPr>
            <a:r>
              <a:rPr lang="en-US" smtClean="0">
                <a:ea typeface="ＭＳ Ｐゴシック" pitchFamily="34" charset="-128"/>
              </a:rPr>
              <a:t>Networks [the reach]</a:t>
            </a:r>
          </a:p>
          <a:p>
            <a:pPr>
              <a:spcBef>
                <a:spcPct val="0"/>
              </a:spcBef>
            </a:pPr>
            <a:r>
              <a:rPr lang="en-GB" smtClean="0">
                <a:ea typeface="ＭＳ Ｐゴシック" pitchFamily="34" charset="-128"/>
              </a:rPr>
              <a:t>Carriers for both Ocean and Airfreight which Damco have partnership agreements with. </a:t>
            </a:r>
            <a:endParaRPr lang="en-US" smtClean="0">
              <a:ea typeface="ＭＳ Ｐゴシック" pitchFamily="34" charset="-128"/>
            </a:endParaRPr>
          </a:p>
        </p:txBody>
      </p:sp>
      <p:sp>
        <p:nvSpPr>
          <p:cNvPr id="48133" name="Slide Number Placeholder 3"/>
          <p:cNvSpPr txBox="1">
            <a:spLocks noGrp="1"/>
          </p:cNvSpPr>
          <p:nvPr/>
        </p:nvSpPr>
        <p:spPr bwMode="auto">
          <a:xfrm>
            <a:off x="3775075" y="9428163"/>
            <a:ext cx="2886075" cy="496887"/>
          </a:xfrm>
          <a:prstGeom prst="rect">
            <a:avLst/>
          </a:prstGeom>
          <a:noFill/>
          <a:ln w="9525">
            <a:noFill/>
            <a:miter lim="800000"/>
            <a:headEnd/>
            <a:tailEnd/>
          </a:ln>
        </p:spPr>
        <p:txBody>
          <a:bodyPr lIns="92040" tIns="46020" rIns="92040" bIns="46020" anchor="b"/>
          <a:lstStyle/>
          <a:p>
            <a:pPr algn="r" defTabSz="920750"/>
            <a:fld id="{2A8C6C26-F536-46B6-B1D6-16955094FE54}" type="slidenum">
              <a:rPr lang="en-GB" sz="1000">
                <a:solidFill>
                  <a:srgbClr val="000000"/>
                </a:solidFill>
                <a:latin typeface="Verdana" pitchFamily="34" charset="0"/>
                <a:ea typeface="ＭＳ Ｐゴシック" pitchFamily="34" charset="-128"/>
              </a:rPr>
              <a:pPr algn="r" defTabSz="920750"/>
              <a:t>18</a:t>
            </a:fld>
            <a:endParaRPr lang="en-GB" sz="1000">
              <a:solidFill>
                <a:srgbClr val="000000"/>
              </a:solidFill>
              <a:latin typeface="Verdana"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p:cNvSpPr>
          <p:nvPr>
            <p:ph type="sldImg"/>
          </p:nvPr>
        </p:nvSpPr>
        <p:spPr bwMode="auto">
          <a:xfrm>
            <a:off x="850900" y="744538"/>
            <a:ext cx="4962525" cy="3722687"/>
          </a:xfrm>
          <a:noFill/>
          <a:ln>
            <a:solidFill>
              <a:srgbClr val="000000"/>
            </a:solidFill>
            <a:miter lim="800000"/>
            <a:headEnd/>
            <a:tailEnd/>
          </a:ln>
        </p:spPr>
      </p:sp>
      <p:sp>
        <p:nvSpPr>
          <p:cNvPr id="14339"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mtClean="0">
                <a:solidFill>
                  <a:srgbClr val="00215B"/>
                </a:solidFill>
                <a:ea typeface="ＭＳ Ｐゴシック" pitchFamily="34" charset="-128"/>
              </a:rPr>
              <a:t>Damco Fresh Produce Direct is an end-to-end logistics solution designed to help grower exporters of fresh produce deliver directly to wholesalers and retailers around the world.</a:t>
            </a:r>
          </a:p>
          <a:p>
            <a:endParaRPr lang="en-US" sz="1000" smtClean="0">
              <a:solidFill>
                <a:srgbClr val="00215B"/>
              </a:solidFill>
              <a:latin typeface="Verdana" pitchFamily="34" charset="0"/>
              <a:ea typeface="ＭＳ Ｐゴシック" pitchFamily="34" charset="-128"/>
            </a:endParaRPr>
          </a:p>
          <a:p>
            <a:pPr>
              <a:lnSpc>
                <a:spcPct val="70000"/>
              </a:lnSpc>
              <a:spcBef>
                <a:spcPct val="50000"/>
              </a:spcBef>
              <a:buFont typeface="Wingdings" pitchFamily="2" charset="2"/>
              <a:buChar char="§"/>
            </a:pPr>
            <a:endParaRPr lang="en-US" sz="1000" smtClean="0">
              <a:solidFill>
                <a:srgbClr val="003366"/>
              </a:solidFill>
              <a:latin typeface="Verdana" pitchFamily="34" charset="0"/>
              <a:ea typeface="ＭＳ Ｐゴシック" pitchFamily="34" charset="-128"/>
            </a:endParaRPr>
          </a:p>
          <a:p>
            <a:pPr>
              <a:lnSpc>
                <a:spcPct val="70000"/>
              </a:lnSpc>
              <a:spcBef>
                <a:spcPct val="50000"/>
              </a:spcBef>
              <a:buFont typeface="Wingdings" pitchFamily="2" charset="2"/>
              <a:buChar char="§"/>
            </a:pPr>
            <a:endParaRPr lang="en-US" smtClean="0">
              <a:latin typeface="Verdana" pitchFamily="34" charset="0"/>
              <a:ea typeface="ＭＳ Ｐゴシック" pitchFamily="34" charset="-128"/>
            </a:endParaRPr>
          </a:p>
        </p:txBody>
      </p:sp>
      <p:sp>
        <p:nvSpPr>
          <p:cNvPr id="14340" name="Slide Number Placeholder 3"/>
          <p:cNvSpPr>
            <a:spLocks noGrp="1"/>
          </p:cNvSpPr>
          <p:nvPr>
            <p:ph type="sldNum" sz="quarter" idx="5"/>
          </p:nvPr>
        </p:nvSpPr>
        <p:spPr bwMode="auto">
          <a:noFill/>
          <a:ln>
            <a:miter lim="800000"/>
            <a:headEnd/>
            <a:tailEnd/>
          </a:ln>
        </p:spPr>
        <p:txBody>
          <a:bodyPr/>
          <a:lstStyle/>
          <a:p>
            <a:fld id="{29B31FF7-37C4-44E3-9A1A-252E51144509}" type="slidenum">
              <a:rPr lang="en-GB">
                <a:latin typeface="Verdana" pitchFamily="34" charset="0"/>
                <a:ea typeface="ＭＳ Ｐゴシック" pitchFamily="34" charset="-128"/>
              </a:rPr>
              <a:pPr/>
              <a:t>5</a:t>
            </a:fld>
            <a:endParaRPr lang="en-GB">
              <a:latin typeface="Verdana"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p:cNvSpPr>
          <p:nvPr>
            <p:ph type="sldImg"/>
          </p:nvPr>
        </p:nvSpPr>
        <p:spPr bwMode="auto">
          <a:xfrm>
            <a:off x="850900" y="744538"/>
            <a:ext cx="4962525" cy="3722687"/>
          </a:xfrm>
          <a:noFill/>
          <a:ln>
            <a:solidFill>
              <a:srgbClr val="000000"/>
            </a:solidFill>
            <a:miter lim="800000"/>
            <a:headEnd/>
            <a:tailEnd/>
          </a:ln>
        </p:spPr>
      </p:sp>
      <p:sp>
        <p:nvSpPr>
          <p:cNvPr id="78851" name="Notes Placeholder 2"/>
          <p:cNvSpPr>
            <a:spLocks noGrp="1"/>
          </p:cNvSpPr>
          <p:nvPr>
            <p:ph type="body" idx="1"/>
          </p:nvPr>
        </p:nvSpPr>
        <p:spPr>
          <a:ln/>
        </p:spPr>
        <p:txBody>
          <a:bodyPr wrap="square" numCol="1" anchor="t" anchorCtr="0" compatLnSpc="1">
            <a:prstTxWarp prst="textNoShape">
              <a:avLst/>
            </a:prstTxWarp>
          </a:bodyPr>
          <a:lstStyle/>
          <a:p>
            <a:pPr defTabSz="830263">
              <a:lnSpc>
                <a:spcPct val="70000"/>
              </a:lnSpc>
              <a:spcBef>
                <a:spcPct val="50000"/>
              </a:spcBef>
              <a:buFont typeface="Wingdings" pitchFamily="2" charset="2"/>
              <a:buNone/>
            </a:pPr>
            <a:r>
              <a:rPr lang="en-US" sz="1000" smtClean="0">
                <a:solidFill>
                  <a:srgbClr val="003366"/>
                </a:solidFill>
                <a:latin typeface="Verdana" pitchFamily="34" charset="0"/>
                <a:ea typeface="ＭＳ Ｐゴシック" pitchFamily="34" charset="-128"/>
              </a:rPr>
              <a:t>EXISTING</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Multiple middlemen’ margins result in inflated final price or deflated grower price</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No visibility of cost drivers: agents, transportation, manipulation</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No ability to forecast price fluctuations</a:t>
            </a:r>
          </a:p>
          <a:p>
            <a:pPr defTabSz="830263">
              <a:lnSpc>
                <a:spcPct val="70000"/>
              </a:lnSpc>
              <a:spcBef>
                <a:spcPct val="50000"/>
              </a:spcBef>
              <a:buFont typeface="Wingdings" pitchFamily="2" charset="2"/>
              <a:buNone/>
            </a:pPr>
            <a:endParaRPr lang="en-US" sz="1000" smtClean="0">
              <a:solidFill>
                <a:srgbClr val="003366"/>
              </a:solidFill>
              <a:latin typeface="Verdana" pitchFamily="34" charset="0"/>
              <a:ea typeface="ＭＳ Ｐゴシック" pitchFamily="34" charset="-128"/>
            </a:endParaRPr>
          </a:p>
          <a:p>
            <a:pPr defTabSz="830263">
              <a:lnSpc>
                <a:spcPct val="70000"/>
              </a:lnSpc>
              <a:spcBef>
                <a:spcPct val="50000"/>
              </a:spcBef>
              <a:buFont typeface="Wingdings" pitchFamily="2" charset="2"/>
              <a:buNone/>
            </a:pPr>
            <a:r>
              <a:rPr lang="en-US" sz="1000" smtClean="0">
                <a:solidFill>
                  <a:srgbClr val="003366"/>
                </a:solidFill>
                <a:latin typeface="Verdana" pitchFamily="34" charset="0"/>
                <a:ea typeface="ＭＳ Ｐゴシック" pitchFamily="34" charset="-128"/>
              </a:rPr>
              <a:t>DIRECT</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Average cost savings of 6-18% to DDP price</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Visibility of cost drivers and ability to impact them</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Relationship with the wholesaler/retailer resulting in easier forecast</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Increase control of YOUR supply chain</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Inventory flexibility through transparency</a:t>
            </a:r>
          </a:p>
          <a:p>
            <a:pPr defTabSz="830263"/>
            <a:endParaRPr lang="en-GB" smtClean="0">
              <a:latin typeface="Verdana" pitchFamily="34" charset="0"/>
              <a:ea typeface="ＭＳ Ｐゴシック" pitchFamily="34" charset="-128"/>
            </a:endParaRPr>
          </a:p>
        </p:txBody>
      </p:sp>
      <p:sp>
        <p:nvSpPr>
          <p:cNvPr id="18436" name="Slide Number Placeholder 3"/>
          <p:cNvSpPr>
            <a:spLocks noGrp="1"/>
          </p:cNvSpPr>
          <p:nvPr>
            <p:ph type="sldNum" sz="quarter" idx="5"/>
          </p:nvPr>
        </p:nvSpPr>
        <p:spPr bwMode="auto">
          <a:noFill/>
          <a:ln>
            <a:miter lim="800000"/>
            <a:headEnd/>
            <a:tailEnd/>
          </a:ln>
        </p:spPr>
        <p:txBody>
          <a:bodyPr/>
          <a:lstStyle/>
          <a:p>
            <a:fld id="{EAABB2A9-0683-431B-BD65-BA8FBD967581}" type="slidenum">
              <a:rPr lang="en-GB">
                <a:solidFill>
                  <a:srgbClr val="000000"/>
                </a:solidFill>
              </a:rPr>
              <a:pPr/>
              <a:t>6</a:t>
            </a:fld>
            <a:endParaRPr lang="en-GB">
              <a:solidFill>
                <a:srgbClr val="000000"/>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p:cNvSpPr>
          <p:nvPr>
            <p:ph type="sldImg"/>
          </p:nvPr>
        </p:nvSpPr>
        <p:spPr bwMode="auto">
          <a:xfrm>
            <a:off x="850900" y="744538"/>
            <a:ext cx="4962525" cy="3722687"/>
          </a:xfrm>
          <a:noFill/>
          <a:ln>
            <a:solidFill>
              <a:srgbClr val="000000"/>
            </a:solidFill>
            <a:miter lim="800000"/>
            <a:headEnd/>
            <a:tailEnd/>
          </a:ln>
        </p:spPr>
      </p:sp>
      <p:sp>
        <p:nvSpPr>
          <p:cNvPr id="78851" name="Notes Placeholder 2"/>
          <p:cNvSpPr>
            <a:spLocks noGrp="1"/>
          </p:cNvSpPr>
          <p:nvPr>
            <p:ph type="body" idx="1"/>
          </p:nvPr>
        </p:nvSpPr>
        <p:spPr>
          <a:ln/>
        </p:spPr>
        <p:txBody>
          <a:bodyPr wrap="square" numCol="1" anchor="t" anchorCtr="0" compatLnSpc="1">
            <a:prstTxWarp prst="textNoShape">
              <a:avLst/>
            </a:prstTxWarp>
          </a:bodyPr>
          <a:lstStyle/>
          <a:p>
            <a:pPr defTabSz="830263">
              <a:lnSpc>
                <a:spcPct val="70000"/>
              </a:lnSpc>
              <a:spcBef>
                <a:spcPct val="50000"/>
              </a:spcBef>
              <a:buFont typeface="Wingdings" pitchFamily="2" charset="2"/>
              <a:buNone/>
            </a:pPr>
            <a:r>
              <a:rPr lang="en-US" sz="1000" smtClean="0">
                <a:solidFill>
                  <a:srgbClr val="003366"/>
                </a:solidFill>
                <a:latin typeface="Verdana" pitchFamily="34" charset="0"/>
                <a:ea typeface="ＭＳ Ｐゴシック" pitchFamily="34" charset="-128"/>
              </a:rPr>
              <a:t>EXISTING</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Multiple middlemen’ margins result in inflated final price or deflated grower price</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No visibility of cost drivers: agents, transportation, manipulation</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No ability to forecast price fluctuations</a:t>
            </a:r>
          </a:p>
          <a:p>
            <a:pPr defTabSz="830263">
              <a:lnSpc>
                <a:spcPct val="70000"/>
              </a:lnSpc>
              <a:spcBef>
                <a:spcPct val="50000"/>
              </a:spcBef>
              <a:buFont typeface="Wingdings" pitchFamily="2" charset="2"/>
              <a:buNone/>
            </a:pPr>
            <a:endParaRPr lang="en-US" sz="1000" smtClean="0">
              <a:solidFill>
                <a:srgbClr val="003366"/>
              </a:solidFill>
              <a:latin typeface="Verdana" pitchFamily="34" charset="0"/>
              <a:ea typeface="ＭＳ Ｐゴシック" pitchFamily="34" charset="-128"/>
            </a:endParaRPr>
          </a:p>
          <a:p>
            <a:pPr defTabSz="830263">
              <a:lnSpc>
                <a:spcPct val="70000"/>
              </a:lnSpc>
              <a:spcBef>
                <a:spcPct val="50000"/>
              </a:spcBef>
              <a:buFont typeface="Wingdings" pitchFamily="2" charset="2"/>
              <a:buNone/>
            </a:pPr>
            <a:r>
              <a:rPr lang="en-US" sz="1000" smtClean="0">
                <a:solidFill>
                  <a:srgbClr val="003366"/>
                </a:solidFill>
                <a:latin typeface="Verdana" pitchFamily="34" charset="0"/>
                <a:ea typeface="ＭＳ Ｐゴシック" pitchFamily="34" charset="-128"/>
              </a:rPr>
              <a:t>DIRECT</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Average cost savings of 6-18% to DDP price</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Visibility of cost drivers and ability to impact them</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Relationship with the wholesaler/retailer resulting in easier forecast</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Increase control of YOUR supply chain</a:t>
            </a:r>
          </a:p>
          <a:p>
            <a:pPr defTabSz="830263">
              <a:lnSpc>
                <a:spcPct val="70000"/>
              </a:lnSpc>
              <a:spcBef>
                <a:spcPct val="50000"/>
              </a:spcBef>
              <a:buFont typeface="Wingdings" pitchFamily="2" charset="2"/>
              <a:buChar char="§"/>
            </a:pPr>
            <a:r>
              <a:rPr lang="en-US" sz="1000" smtClean="0">
                <a:solidFill>
                  <a:srgbClr val="003366"/>
                </a:solidFill>
                <a:latin typeface="Verdana" pitchFamily="34" charset="0"/>
                <a:ea typeface="ＭＳ Ｐゴシック" pitchFamily="34" charset="-128"/>
              </a:rPr>
              <a:t> Inventory flexibility through transparency</a:t>
            </a:r>
          </a:p>
          <a:p>
            <a:pPr defTabSz="830263"/>
            <a:endParaRPr lang="en-GB" smtClean="0">
              <a:latin typeface="Verdana" pitchFamily="34" charset="0"/>
              <a:ea typeface="ＭＳ Ｐゴシック" pitchFamily="34" charset="-128"/>
            </a:endParaRPr>
          </a:p>
        </p:txBody>
      </p:sp>
      <p:sp>
        <p:nvSpPr>
          <p:cNvPr id="16388" name="Slide Number Placeholder 3"/>
          <p:cNvSpPr>
            <a:spLocks noGrp="1"/>
          </p:cNvSpPr>
          <p:nvPr>
            <p:ph type="sldNum" sz="quarter" idx="5"/>
          </p:nvPr>
        </p:nvSpPr>
        <p:spPr bwMode="auto">
          <a:noFill/>
          <a:ln>
            <a:miter lim="800000"/>
            <a:headEnd/>
            <a:tailEnd/>
          </a:ln>
        </p:spPr>
        <p:txBody>
          <a:bodyPr/>
          <a:lstStyle/>
          <a:p>
            <a:fld id="{F75A2C0C-7069-47F2-9A06-9D9D37A96A83}" type="slidenum">
              <a:rPr lang="en-GB">
                <a:solidFill>
                  <a:srgbClr val="000000"/>
                </a:solidFill>
              </a:rPr>
              <a:pPr/>
              <a:t>7</a:t>
            </a:fld>
            <a:endParaRPr lang="en-GB">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p:cNvSpPr>
          <p:nvPr>
            <p:ph type="sldImg"/>
          </p:nvPr>
        </p:nvSpPr>
        <p:spPr bwMode="auto">
          <a:xfrm>
            <a:off x="850900" y="744538"/>
            <a:ext cx="4962525" cy="3722687"/>
          </a:xfrm>
          <a:noFill/>
          <a:ln>
            <a:solidFill>
              <a:srgbClr val="000000"/>
            </a:solidFill>
            <a:miter lim="800000"/>
            <a:headEnd/>
            <a:tailEnd/>
          </a:ln>
        </p:spPr>
      </p:sp>
      <p:sp>
        <p:nvSpPr>
          <p:cNvPr id="67587" name="Notes Placeholder 2"/>
          <p:cNvSpPr>
            <a:spLocks noGrp="1"/>
          </p:cNvSpPr>
          <p:nvPr>
            <p:ph type="body" idx="1"/>
          </p:nvPr>
        </p:nvSpPr>
        <p:spPr>
          <a:ln/>
        </p:spPr>
        <p:txBody>
          <a:bodyPr wrap="square" numCol="1" anchor="t" anchorCtr="0" compatLnSpc="1">
            <a:prstTxWarp prst="textNoShape">
              <a:avLst/>
            </a:prstTxWarp>
          </a:bodyPr>
          <a:lstStyle/>
          <a:p>
            <a:r>
              <a:rPr lang="en-US" sz="1000" smtClean="0">
                <a:latin typeface="Arial" charset="0"/>
                <a:ea typeface="ＭＳ Ｐゴシック" pitchFamily="34" charset="-128"/>
                <a:cs typeface="Arial" charset="0"/>
              </a:rPr>
              <a:t>By using Damco Fresh Produce Direct you will receive the following benefits and at the same time mitigate the risks that are normally connected with this type of logistics approach:</a:t>
            </a:r>
          </a:p>
          <a:p>
            <a:endParaRPr lang="en-US" sz="1000" smtClean="0">
              <a:latin typeface="Arial" charset="0"/>
              <a:ea typeface="ＭＳ Ｐゴシック" pitchFamily="34" charset="-128"/>
              <a:cs typeface="Arial" charset="0"/>
            </a:endParaRPr>
          </a:p>
          <a:p>
            <a:r>
              <a:rPr lang="en-US" sz="1000" smtClean="0">
                <a:latin typeface="Arial" charset="0"/>
                <a:ea typeface="ＭＳ Ｐゴシック" pitchFamily="34" charset="-128"/>
                <a:cs typeface="Arial" charset="0"/>
              </a:rPr>
              <a:t>Increased Reliability (More Than 99%)</a:t>
            </a:r>
          </a:p>
          <a:p>
            <a:r>
              <a:rPr lang="en-US" sz="1000" smtClean="0">
                <a:latin typeface="Arial" charset="0"/>
                <a:ea typeface="ＭＳ Ｐゴシック" pitchFamily="34" charset="-128"/>
                <a:cs typeface="Arial" charset="0"/>
              </a:rPr>
              <a:t>Our dedicated team, global systems, standard processes for handling exceptions at agreed key milestones, regular review of performance, and “prevent, manage, recover”</a:t>
            </a:r>
          </a:p>
          <a:p>
            <a:r>
              <a:rPr lang="en-US" sz="1000" smtClean="0">
                <a:latin typeface="Arial" charset="0"/>
                <a:ea typeface="ＭＳ Ｐゴシック" pitchFamily="34" charset="-128"/>
                <a:cs typeface="Arial" charset="0"/>
              </a:rPr>
              <a:t>principles ensure your produce arrives on-time, every time.</a:t>
            </a:r>
          </a:p>
          <a:p>
            <a:endParaRPr lang="en-US" sz="1000" smtClean="0">
              <a:latin typeface="Arial" charset="0"/>
              <a:ea typeface="ＭＳ Ｐゴシック" pitchFamily="34" charset="-128"/>
              <a:cs typeface="Arial" charset="0"/>
            </a:endParaRPr>
          </a:p>
          <a:p>
            <a:r>
              <a:rPr lang="en-US" sz="1000" smtClean="0">
                <a:latin typeface="Arial" charset="0"/>
                <a:ea typeface="ＭＳ Ｐゴシック" pitchFamily="34" charset="-128"/>
                <a:cs typeface="Arial" charset="0"/>
              </a:rPr>
              <a:t>Improved Service (Faster &amp; Flexible)</a:t>
            </a:r>
          </a:p>
          <a:p>
            <a:r>
              <a:rPr lang="en-US" sz="1000" smtClean="0">
                <a:latin typeface="Arial" charset="0"/>
                <a:ea typeface="ＭＳ Ｐゴシック" pitchFamily="34" charset="-128"/>
                <a:cs typeface="Arial" charset="0"/>
              </a:rPr>
              <a:t>Our independence from specific transportation providers ensures you can deliver according to your requirements rather than a fixed timetable. The value added services we</a:t>
            </a:r>
          </a:p>
          <a:p>
            <a:r>
              <a:rPr lang="en-US" sz="1000" smtClean="0">
                <a:latin typeface="Arial" charset="0"/>
                <a:ea typeface="ＭＳ Ｐゴシック" pitchFamily="34" charset="-128"/>
                <a:cs typeface="Arial" charset="0"/>
              </a:rPr>
              <a:t>provide can be customized to meet your specific needs. This typically results in your produce getting to market faster and with the specifications required.</a:t>
            </a:r>
          </a:p>
          <a:p>
            <a:endParaRPr lang="en-US" sz="1000" smtClean="0">
              <a:latin typeface="Arial" charset="0"/>
              <a:ea typeface="ＭＳ Ｐゴシック" pitchFamily="34" charset="-128"/>
              <a:cs typeface="Arial" charset="0"/>
            </a:endParaRPr>
          </a:p>
          <a:p>
            <a:r>
              <a:rPr lang="en-US" sz="1000" smtClean="0">
                <a:latin typeface="Arial" charset="0"/>
                <a:ea typeface="ＭＳ Ｐゴシック" pitchFamily="34" charset="-128"/>
                <a:cs typeface="Arial" charset="0"/>
              </a:rPr>
              <a:t>Reduced Costs (By Up To 20%)</a:t>
            </a:r>
          </a:p>
          <a:p>
            <a:r>
              <a:rPr lang="en-US" sz="1000" smtClean="0">
                <a:latin typeface="Arial" charset="0"/>
                <a:ea typeface="ＭＳ Ｐゴシック" pitchFamily="34" charset="-128"/>
                <a:cs typeface="Arial" charset="0"/>
              </a:rPr>
              <a:t>Delivering directly can typically lower costs by up to 20%, which enables growers, grower exporters and retailers to invest savings in growth. We can also help manage logistics</a:t>
            </a:r>
          </a:p>
          <a:p>
            <a:r>
              <a:rPr lang="en-US" sz="1000" smtClean="0">
                <a:latin typeface="Arial" charset="0"/>
                <a:ea typeface="ＭＳ Ｐゴシック" pitchFamily="34" charset="-128"/>
                <a:cs typeface="Arial" charset="0"/>
              </a:rPr>
              <a:t>costs during peak seasons by securing required air and ocean carrier allocations at fixed freight rates.</a:t>
            </a:r>
          </a:p>
          <a:p>
            <a:endParaRPr lang="en-US" sz="1000" smtClean="0">
              <a:latin typeface="Arial" charset="0"/>
              <a:ea typeface="ＭＳ Ｐゴシック" pitchFamily="34" charset="-128"/>
              <a:cs typeface="Arial" charset="0"/>
            </a:endParaRPr>
          </a:p>
          <a:p>
            <a:r>
              <a:rPr lang="en-US" sz="1000" smtClean="0">
                <a:latin typeface="Arial" charset="0"/>
                <a:ea typeface="ＭＳ Ｐゴシック" pitchFamily="34" charset="-128"/>
                <a:cs typeface="Arial" charset="0"/>
              </a:rPr>
              <a:t>Reduced Risk (Optimal Condition)</a:t>
            </a:r>
          </a:p>
          <a:p>
            <a:r>
              <a:rPr lang="en-US" sz="1000" smtClean="0">
                <a:latin typeface="Arial" charset="0"/>
                <a:ea typeface="ＭＳ Ｐゴシック" pitchFamily="34" charset="-128"/>
                <a:cs typeface="Arial" charset="0"/>
              </a:rPr>
              <a:t>Our people are responsible for managing all steps in the chain, minimizing the risk of anything going wrong. Cargo inspections increase insurability and reduce premiums.</a:t>
            </a:r>
          </a:p>
          <a:p>
            <a:r>
              <a:rPr lang="en-US" sz="1000" smtClean="0">
                <a:latin typeface="Arial" charset="0"/>
                <a:ea typeface="ＭＳ Ｐゴシック" pitchFamily="34" charset="-128"/>
                <a:cs typeface="Arial" charset="0"/>
              </a:rPr>
              <a:t>End-to-end visibility on a multi-carrier level provides traceability and ensures that you can stay in control of your shipments and reduce risk to a minimum. If something does</a:t>
            </a:r>
          </a:p>
          <a:p>
            <a:r>
              <a:rPr lang="en-US" sz="1000" smtClean="0">
                <a:latin typeface="Arial" charset="0"/>
                <a:ea typeface="ＭＳ Ｐゴシック" pitchFamily="34" charset="-128"/>
                <a:cs typeface="Arial" charset="0"/>
              </a:rPr>
              <a:t>go wrong, our claim handling expertise will help ensure your claim gets resolved in a timely manner.</a:t>
            </a:r>
          </a:p>
          <a:p>
            <a:endParaRPr lang="en-US" sz="1000" smtClean="0">
              <a:latin typeface="Arial" charset="0"/>
              <a:ea typeface="ＭＳ Ｐゴシック" pitchFamily="34" charset="-128"/>
              <a:cs typeface="Arial" charset="0"/>
            </a:endParaRPr>
          </a:p>
          <a:p>
            <a:r>
              <a:rPr lang="en-US" sz="1000" smtClean="0">
                <a:latin typeface="Arial" charset="0"/>
                <a:ea typeface="ＭＳ Ｐゴシック" pitchFamily="34" charset="-128"/>
                <a:cs typeface="Arial" charset="0"/>
              </a:rPr>
              <a:t>Increased Sustainability (Less Waste And Co2)</a:t>
            </a:r>
          </a:p>
          <a:p>
            <a:r>
              <a:rPr lang="en-US" sz="1000" smtClean="0">
                <a:latin typeface="Arial" charset="0"/>
                <a:ea typeface="ＭＳ Ｐゴシック" pitchFamily="34" charset="-128"/>
                <a:cs typeface="Arial" charset="0"/>
              </a:rPr>
              <a:t>By optimizing the movement of your produce across all available routes and transport modes, we can not only reduce cost but also reduce the carbon emissions required</a:t>
            </a:r>
          </a:p>
          <a:p>
            <a:r>
              <a:rPr lang="en-US" sz="1000" smtClean="0">
                <a:latin typeface="Arial" charset="0"/>
                <a:ea typeface="ＭＳ Ｐゴシック" pitchFamily="34" charset="-128"/>
                <a:cs typeface="Arial" charset="0"/>
              </a:rPr>
              <a:t>to get it to market. By ensuring full control within each step in the chain we can also reduce waste, ensuring far more of your produce gets to market in optimal condition.</a:t>
            </a:r>
          </a:p>
          <a:p>
            <a:endParaRPr lang="en-US" sz="1000" smtClean="0">
              <a:latin typeface="Arial" charset="0"/>
              <a:ea typeface="ＭＳ Ｐゴシック" pitchFamily="34" charset="-128"/>
              <a:cs typeface="Arial" charset="0"/>
            </a:endParaRPr>
          </a:p>
          <a:p>
            <a:r>
              <a:rPr lang="en-US" sz="1000" smtClean="0">
                <a:latin typeface="Arial" charset="0"/>
                <a:ea typeface="ＭＳ Ｐゴシック" pitchFamily="34" charset="-128"/>
                <a:cs typeface="Arial" charset="0"/>
              </a:rPr>
              <a:t>Reduced Complexity (One Contact)</a:t>
            </a:r>
          </a:p>
          <a:p>
            <a:r>
              <a:rPr lang="en-US" sz="1000" smtClean="0">
                <a:latin typeface="Arial" charset="0"/>
                <a:ea typeface="ＭＳ Ｐゴシック" pitchFamily="34" charset="-128"/>
                <a:cs typeface="Arial" charset="0"/>
              </a:rPr>
              <a:t>With one point of contact across the supply chain, one contract and one bill, you can significantly reduce your administrative burden and the resources you typically use</a:t>
            </a:r>
          </a:p>
          <a:p>
            <a:r>
              <a:rPr lang="en-US" sz="1000" smtClean="0">
                <a:latin typeface="Arial" charset="0"/>
                <a:ea typeface="ＭＳ Ｐゴシック" pitchFamily="34" charset="-128"/>
                <a:cs typeface="Arial" charset="0"/>
              </a:rPr>
              <a:t>managing shipments. With access to our expert Supply Chain Development team you can explore new opportunities quicker and with more certainty than ever before.</a:t>
            </a:r>
          </a:p>
          <a:p>
            <a:endParaRPr lang="en-US" sz="1000" smtClean="0">
              <a:latin typeface="Arial" charset="0"/>
              <a:ea typeface="ＭＳ Ｐゴシック" pitchFamily="34" charset="-128"/>
              <a:cs typeface="Arial" charset="0"/>
            </a:endParaRPr>
          </a:p>
        </p:txBody>
      </p:sp>
      <p:sp>
        <p:nvSpPr>
          <p:cNvPr id="20484" name="Slide Number Placeholder 3"/>
          <p:cNvSpPr>
            <a:spLocks noGrp="1"/>
          </p:cNvSpPr>
          <p:nvPr>
            <p:ph type="sldNum" sz="quarter" idx="5"/>
          </p:nvPr>
        </p:nvSpPr>
        <p:spPr bwMode="auto">
          <a:noFill/>
          <a:ln>
            <a:miter lim="800000"/>
            <a:headEnd/>
            <a:tailEnd/>
          </a:ln>
        </p:spPr>
        <p:txBody>
          <a:bodyPr/>
          <a:lstStyle/>
          <a:p>
            <a:fld id="{ED3B12C3-F60A-4963-BCE7-9825DF3CC0BA}" type="slidenum">
              <a:rPr lang="en-GB">
                <a:latin typeface="Verdana" pitchFamily="34" charset="0"/>
                <a:ea typeface="ＭＳ Ｐゴシック" pitchFamily="34" charset="-128"/>
              </a:rPr>
              <a:pPr/>
              <a:t>8</a:t>
            </a:fld>
            <a:endParaRPr lang="en-GB">
              <a:latin typeface="Verdana" pitchFamily="34" charset="0"/>
              <a:ea typeface="ＭＳ Ｐゴシック"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spect="1" noChangeArrowheads="1" noTextEdit="1"/>
          </p:cNvSpPr>
          <p:nvPr>
            <p:ph type="sldImg"/>
          </p:nvPr>
        </p:nvSpPr>
        <p:spPr bwMode="auto">
          <a:xfrm>
            <a:off x="850900" y="744538"/>
            <a:ext cx="4962525" cy="3722687"/>
          </a:xfrm>
          <a:noFill/>
          <a:ln>
            <a:solidFill>
              <a:srgbClr val="000000"/>
            </a:solidFill>
            <a:miter lim="800000"/>
            <a:headEnd/>
            <a:tailEnd/>
          </a:ln>
        </p:spPr>
      </p:sp>
      <p:sp>
        <p:nvSpPr>
          <p:cNvPr id="2253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defTabSz="830263">
              <a:spcBef>
                <a:spcPct val="50000"/>
              </a:spcBef>
            </a:pPr>
            <a:r>
              <a:rPr lang="en-US" sz="1000" smtClean="0">
                <a:latin typeface="Verdana" pitchFamily="34" charset="0"/>
                <a:ea typeface="ＭＳ Ｐゴシック" pitchFamily="34" charset="-128"/>
              </a:rPr>
              <a:t>Remove non-value adding steps in the supply chain</a:t>
            </a:r>
          </a:p>
          <a:p>
            <a:pPr defTabSz="830263">
              <a:spcBef>
                <a:spcPct val="50000"/>
              </a:spcBef>
            </a:pPr>
            <a:r>
              <a:rPr lang="en-US" sz="1000" smtClean="0">
                <a:latin typeface="Verdana" pitchFamily="34" charset="0"/>
                <a:ea typeface="ＭＳ Ｐゴシック" pitchFamily="34" charset="-128"/>
              </a:rPr>
              <a:t>Manage costs and pay only for what is needed</a:t>
            </a:r>
          </a:p>
          <a:p>
            <a:pPr defTabSz="830263">
              <a:spcBef>
                <a:spcPct val="50000"/>
              </a:spcBef>
            </a:pPr>
            <a:r>
              <a:rPr lang="en-US" sz="1000" smtClean="0">
                <a:latin typeface="Verdana" pitchFamily="34" charset="0"/>
                <a:ea typeface="ＭＳ Ｐゴシック" pitchFamily="34" charset="-128"/>
              </a:rPr>
              <a:t>Benefit from economies of scale and flexibility</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p:cNvSpPr>
          <p:nvPr>
            <p:ph type="sldImg"/>
          </p:nvPr>
        </p:nvSpPr>
        <p:spPr bwMode="auto">
          <a:xfrm>
            <a:off x="850900" y="744538"/>
            <a:ext cx="4962525" cy="3722687"/>
          </a:xfrm>
          <a:noFill/>
          <a:ln>
            <a:solidFill>
              <a:srgbClr val="000000"/>
            </a:solidFill>
            <a:miter lim="800000"/>
            <a:headEnd/>
            <a:tailEnd/>
          </a:ln>
        </p:spPr>
      </p:sp>
      <p:sp>
        <p:nvSpPr>
          <p:cNvPr id="58371" name="Notes Placeholder 2"/>
          <p:cNvSpPr>
            <a:spLocks noGrp="1"/>
          </p:cNvSpPr>
          <p:nvPr>
            <p:ph type="body" idx="1"/>
          </p:nvPr>
        </p:nvSpPr>
        <p:spPr>
          <a:ln/>
        </p:spPr>
        <p:txBody>
          <a:bodyPr wrap="square" numCol="1" anchor="t" anchorCtr="0" compatLnSpc="1">
            <a:prstTxWarp prst="textNoShape">
              <a:avLst/>
            </a:prstTxWarp>
          </a:bodyPr>
          <a:lstStyle/>
          <a:p>
            <a:r>
              <a:rPr lang="en-US" sz="1000" smtClean="0">
                <a:latin typeface="Arial" charset="0"/>
                <a:ea typeface="ＭＳ Ｐゴシック" pitchFamily="34" charset="-128"/>
                <a:cs typeface="Arial" charset="0"/>
              </a:rPr>
              <a:t>We can offer anything from simple freight forwarding to highly sophisticated and integrated end-to-end logistics solutions. We know that no two customers are the same, and therefore we design individual solutions to meet individual needs, putting together only those components that are truly needed. As an independent third party logistics provider we are not bound to one partner, but instead work with many different partners to ensure objectivity and the best available price.</a:t>
            </a:r>
            <a:endParaRPr lang="en-US" sz="1000" smtClean="0">
              <a:solidFill>
                <a:srgbClr val="00215B"/>
              </a:solidFill>
              <a:latin typeface="Verdana" pitchFamily="34" charset="0"/>
              <a:ea typeface="ＭＳ Ｐゴシック" pitchFamily="34" charset="-128"/>
            </a:endParaRPr>
          </a:p>
          <a:p>
            <a:endParaRPr lang="en-US" sz="1000" smtClean="0">
              <a:solidFill>
                <a:srgbClr val="00215B"/>
              </a:solidFill>
              <a:latin typeface="Verdana" pitchFamily="34" charset="0"/>
              <a:ea typeface="ＭＳ Ｐゴシック" pitchFamily="34" charset="-128"/>
            </a:endParaRPr>
          </a:p>
          <a:p>
            <a:r>
              <a:rPr lang="en-US" sz="1000" smtClean="0">
                <a:latin typeface="Arial" charset="0"/>
                <a:ea typeface="ＭＳ Ｐゴシック" pitchFamily="34" charset="-128"/>
                <a:cs typeface="Arial" charset="0"/>
              </a:rPr>
              <a:t>SUPPLY CHAIN DEVELOPMENT</a:t>
            </a:r>
          </a:p>
          <a:p>
            <a:r>
              <a:rPr lang="en-US" sz="1000" smtClean="0">
                <a:latin typeface="Arial" charset="0"/>
                <a:ea typeface="ＭＳ Ｐゴシック" pitchFamily="34" charset="-128"/>
                <a:cs typeface="Arial" charset="0"/>
              </a:rPr>
              <a:t>Supply chain design, integration, development and optimization services</a:t>
            </a:r>
          </a:p>
          <a:p>
            <a:endParaRPr lang="en-US" sz="1000" smtClean="0">
              <a:latin typeface="Arial" charset="0"/>
              <a:ea typeface="ＭＳ Ｐゴシック" pitchFamily="34" charset="-128"/>
              <a:cs typeface="Arial" charset="0"/>
            </a:endParaRPr>
          </a:p>
          <a:p>
            <a:r>
              <a:rPr lang="en-US" sz="1000" smtClean="0">
                <a:latin typeface="Arial" charset="0"/>
                <a:ea typeface="ＭＳ Ｐゴシック" pitchFamily="34" charset="-128"/>
                <a:cs typeface="Arial" charset="0"/>
              </a:rPr>
              <a:t>SUPPLY CHAIN MANAGEMENT</a:t>
            </a:r>
          </a:p>
          <a:p>
            <a:r>
              <a:rPr lang="en-US" sz="1000" smtClean="0">
                <a:latin typeface="Arial" charset="0"/>
                <a:ea typeface="ＭＳ Ｐゴシック" pitchFamily="34" charset="-128"/>
                <a:cs typeface="Arial" charset="0"/>
              </a:rPr>
              <a:t>End-to-end management of supply chains and at all levels – operational, tactical and strategic</a:t>
            </a:r>
          </a:p>
          <a:p>
            <a:endParaRPr lang="en-US" sz="1000" smtClean="0">
              <a:latin typeface="Arial" charset="0"/>
              <a:ea typeface="ＭＳ Ｐゴシック" pitchFamily="34" charset="-128"/>
              <a:cs typeface="Arial" charset="0"/>
            </a:endParaRPr>
          </a:p>
          <a:p>
            <a:r>
              <a:rPr lang="en-US" sz="1000" smtClean="0">
                <a:latin typeface="Arial" charset="0"/>
                <a:ea typeface="ＭＳ Ｐゴシック" pitchFamily="34" charset="-128"/>
                <a:cs typeface="Arial" charset="0"/>
              </a:rPr>
              <a:t>VISIBILITY</a:t>
            </a:r>
          </a:p>
          <a:p>
            <a:r>
              <a:rPr lang="en-US" sz="1000" smtClean="0">
                <a:latin typeface="Arial" charset="0"/>
                <a:ea typeface="ＭＳ Ｐゴシック" pitchFamily="34" charset="-128"/>
                <a:cs typeface="Arial" charset="0"/>
              </a:rPr>
              <a:t>Our visibility systems provide pick-up, shipping, airfreight and delivery reporting on pallet &amp; container level. We make sure you have the right trade documentation,</a:t>
            </a:r>
          </a:p>
          <a:p>
            <a:r>
              <a:rPr lang="en-US" sz="1000" smtClean="0">
                <a:latin typeface="Arial" charset="0"/>
                <a:ea typeface="ＭＳ Ｐゴシック" pitchFamily="34" charset="-128"/>
                <a:cs typeface="Arial" charset="0"/>
              </a:rPr>
              <a:t>authenticated by the right people at the right time.</a:t>
            </a:r>
            <a:endParaRPr lang="en-US" smtClean="0">
              <a:latin typeface="Verdana" pitchFamily="34" charset="0"/>
              <a:ea typeface="ＭＳ Ｐゴシック" pitchFamily="34" charset="-128"/>
            </a:endParaRPr>
          </a:p>
        </p:txBody>
      </p:sp>
      <p:sp>
        <p:nvSpPr>
          <p:cNvPr id="24580" name="Slide Number Placeholder 3"/>
          <p:cNvSpPr>
            <a:spLocks noGrp="1"/>
          </p:cNvSpPr>
          <p:nvPr>
            <p:ph type="sldNum" sz="quarter" idx="5"/>
          </p:nvPr>
        </p:nvSpPr>
        <p:spPr bwMode="auto">
          <a:noFill/>
          <a:ln>
            <a:miter lim="800000"/>
            <a:headEnd/>
            <a:tailEnd/>
          </a:ln>
        </p:spPr>
        <p:txBody>
          <a:bodyPr/>
          <a:lstStyle/>
          <a:p>
            <a:fld id="{9DCE9DAB-56DC-47C9-B2F2-3E023A33D03A}" type="slidenum">
              <a:rPr lang="en-GB">
                <a:solidFill>
                  <a:srgbClr val="FFFFFF"/>
                </a:solidFill>
                <a:latin typeface="Verdana" pitchFamily="34" charset="0"/>
                <a:ea typeface="ＭＳ Ｐゴシック" pitchFamily="34" charset="-128"/>
              </a:rPr>
              <a:pPr/>
              <a:t>10</a:t>
            </a:fld>
            <a:endParaRPr lang="en-GB">
              <a:solidFill>
                <a:srgbClr val="FFFFFF"/>
              </a:solidFill>
              <a:latin typeface="Verdana" pitchFamily="34" charset="0"/>
              <a:ea typeface="ＭＳ Ｐゴシック" pitchFamily="34"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p:cNvSpPr>
          <p:nvPr>
            <p:ph type="sldImg"/>
          </p:nvPr>
        </p:nvSpPr>
        <p:spPr bwMode="auto">
          <a:xfrm>
            <a:off x="850900" y="744538"/>
            <a:ext cx="4962525" cy="3722687"/>
          </a:xfrm>
          <a:noFill/>
          <a:ln>
            <a:solidFill>
              <a:srgbClr val="000000"/>
            </a:solidFill>
            <a:miter lim="800000"/>
            <a:headEnd/>
            <a:tailEnd/>
          </a:ln>
        </p:spPr>
      </p:sp>
      <p:sp>
        <p:nvSpPr>
          <p:cNvPr id="58371" name="Notes Placeholder 2"/>
          <p:cNvSpPr>
            <a:spLocks noGrp="1"/>
          </p:cNvSpPr>
          <p:nvPr>
            <p:ph type="body" idx="1"/>
          </p:nvPr>
        </p:nvSpPr>
        <p:spPr>
          <a:ln/>
        </p:spPr>
        <p:txBody>
          <a:bodyPr wrap="square" numCol="1" anchor="t" anchorCtr="0" compatLnSpc="1">
            <a:prstTxWarp prst="textNoShape">
              <a:avLst/>
            </a:prstTxWarp>
          </a:bodyPr>
          <a:lstStyle/>
          <a:p>
            <a:r>
              <a:rPr lang="en-US" sz="1000" smtClean="0">
                <a:latin typeface="Arial" charset="0"/>
                <a:ea typeface="ＭＳ Ｐゴシック" pitchFamily="34" charset="-128"/>
                <a:cs typeface="Arial" charset="0"/>
              </a:rPr>
              <a:t>ORIGIN SERVICES</a:t>
            </a:r>
          </a:p>
          <a:p>
            <a:r>
              <a:rPr lang="en-US" sz="1000" smtClean="0">
                <a:latin typeface="Arial" charset="0"/>
                <a:ea typeface="ＭＳ Ｐゴシック" pitchFamily="34" charset="-128"/>
                <a:cs typeface="Arial" charset="0"/>
              </a:rPr>
              <a:t>Our teams at origin provide all the services required to make sure your produce is shipped on-time, in the form required and in accordance with all local procedures, rules and regulations.</a:t>
            </a:r>
            <a:endParaRPr lang="en-US" smtClean="0">
              <a:latin typeface="Verdana" pitchFamily="34" charset="0"/>
              <a:ea typeface="ＭＳ Ｐゴシック" pitchFamily="34" charset="-128"/>
            </a:endParaRPr>
          </a:p>
        </p:txBody>
      </p:sp>
      <p:sp>
        <p:nvSpPr>
          <p:cNvPr id="26628" name="Slide Number Placeholder 3"/>
          <p:cNvSpPr>
            <a:spLocks noGrp="1"/>
          </p:cNvSpPr>
          <p:nvPr>
            <p:ph type="sldNum" sz="quarter" idx="5"/>
          </p:nvPr>
        </p:nvSpPr>
        <p:spPr bwMode="auto">
          <a:noFill/>
          <a:ln>
            <a:miter lim="800000"/>
            <a:headEnd/>
            <a:tailEnd/>
          </a:ln>
        </p:spPr>
        <p:txBody>
          <a:bodyPr/>
          <a:lstStyle/>
          <a:p>
            <a:fld id="{04055811-2C55-4593-90CD-2A7E9EA4DD13}" type="slidenum">
              <a:rPr lang="en-GB">
                <a:solidFill>
                  <a:srgbClr val="FFFFFF"/>
                </a:solidFill>
                <a:latin typeface="Verdana" pitchFamily="34" charset="0"/>
                <a:ea typeface="ＭＳ Ｐゴシック" pitchFamily="34" charset="-128"/>
              </a:rPr>
              <a:pPr/>
              <a:t>11</a:t>
            </a:fld>
            <a:endParaRPr lang="en-GB">
              <a:solidFill>
                <a:srgbClr val="FFFFFF"/>
              </a:solidFill>
              <a:latin typeface="Verdana" pitchFamily="34" charset="0"/>
              <a:ea typeface="ＭＳ Ｐゴシック" pitchFamily="34"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p:cNvSpPr>
          <p:nvPr>
            <p:ph type="sldImg"/>
          </p:nvPr>
        </p:nvSpPr>
        <p:spPr bwMode="auto">
          <a:xfrm>
            <a:off x="850900" y="744538"/>
            <a:ext cx="4962525" cy="3722687"/>
          </a:xfrm>
          <a:noFill/>
          <a:ln>
            <a:solidFill>
              <a:srgbClr val="000000"/>
            </a:solidFill>
            <a:miter lim="800000"/>
            <a:headEnd/>
            <a:tailEnd/>
          </a:ln>
        </p:spPr>
      </p:sp>
      <p:sp>
        <p:nvSpPr>
          <p:cNvPr id="3" name="Notes Placeholder 2"/>
          <p:cNvSpPr>
            <a:spLocks noGrp="1"/>
          </p:cNvSpPr>
          <p:nvPr>
            <p:ph type="body" idx="1"/>
          </p:nvPr>
        </p:nvSpPr>
        <p:spPr/>
        <p:txBody>
          <a:bodyPr wrap="square" numCol="1" anchor="t" anchorCtr="0" compatLnSpc="1">
            <a:prstTxWarp prst="textNoShape">
              <a:avLst/>
            </a:prstTxWarp>
          </a:bodyPr>
          <a:lstStyle/>
          <a:p>
            <a:r>
              <a:rPr lang="en-US" sz="1000" smtClean="0">
                <a:latin typeface="Arial" charset="0"/>
                <a:ea typeface="ＭＳ Ｐゴシック" pitchFamily="34" charset="-128"/>
                <a:cs typeface="Arial" charset="0"/>
              </a:rPr>
              <a:t>TRANSPORT SERVICES</a:t>
            </a:r>
          </a:p>
          <a:p>
            <a:r>
              <a:rPr lang="en-US" sz="1000" smtClean="0">
                <a:latin typeface="Arial" charset="0"/>
                <a:ea typeface="ＭＳ Ｐゴシック" pitchFamily="34" charset="-128"/>
                <a:cs typeface="Arial" charset="0"/>
              </a:rPr>
              <a:t>Our transport teams manage the planning and booking of all modes of transportation. Our global network allows us to cover 10,000 air and sea corridors worldwide. We provide full service solutions to meet all needs.</a:t>
            </a:r>
            <a:endParaRPr lang="en-US" sz="1000" smtClean="0">
              <a:ea typeface="ＭＳ Ｐゴシック" pitchFamily="34" charset="-128"/>
            </a:endParaRPr>
          </a:p>
        </p:txBody>
      </p:sp>
      <p:sp>
        <p:nvSpPr>
          <p:cNvPr id="28676" name="Slide Number Placeholder 3"/>
          <p:cNvSpPr>
            <a:spLocks noGrp="1"/>
          </p:cNvSpPr>
          <p:nvPr>
            <p:ph type="sldNum" sz="quarter" idx="5"/>
          </p:nvPr>
        </p:nvSpPr>
        <p:spPr bwMode="auto">
          <a:noFill/>
          <a:ln>
            <a:miter lim="800000"/>
            <a:headEnd/>
            <a:tailEnd/>
          </a:ln>
        </p:spPr>
        <p:txBody>
          <a:bodyPr/>
          <a:lstStyle/>
          <a:p>
            <a:fld id="{FFB8EC3C-D3EF-4EC2-B60C-4C384C485E9E}" type="slidenum">
              <a:rPr lang="en-US" sz="1000"/>
              <a:pPr/>
              <a:t>12</a:t>
            </a:fld>
            <a:endParaRPr lang="en-US" sz="100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tif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tif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tif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tif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4" name="Picture 10" descr="_MG_0699.jpg"/>
          <p:cNvPicPr>
            <a:picLocks noChangeAspect="1"/>
          </p:cNvPicPr>
          <p:nvPr userDrawn="1"/>
        </p:nvPicPr>
        <p:blipFill>
          <a:blip r:embed="rId2" cstate="print"/>
          <a:srcRect t="19672" b="53502"/>
          <a:stretch>
            <a:fillRect/>
          </a:stretch>
        </p:blipFill>
        <p:spPr bwMode="auto">
          <a:xfrm>
            <a:off x="469900" y="3289300"/>
            <a:ext cx="8686800" cy="3429000"/>
          </a:xfrm>
          <a:prstGeom prst="rect">
            <a:avLst/>
          </a:prstGeom>
          <a:noFill/>
          <a:ln w="9525">
            <a:noFill/>
            <a:miter lim="800000"/>
            <a:headEnd/>
            <a:tailEnd/>
          </a:ln>
        </p:spPr>
      </p:pic>
      <p:sp>
        <p:nvSpPr>
          <p:cNvPr id="5" name="Rektangel 10"/>
          <p:cNvSpPr/>
          <p:nvPr/>
        </p:nvSpPr>
        <p:spPr>
          <a:xfrm rot="16200000">
            <a:off x="4733926" y="-981075"/>
            <a:ext cx="144462" cy="8675687"/>
          </a:xfrm>
          <a:prstGeom prst="rect">
            <a:avLst/>
          </a:prstGeom>
          <a:gradFill>
            <a:gsLst>
              <a:gs pos="0">
                <a:schemeClr val="accent1"/>
              </a:gs>
              <a:gs pos="33000">
                <a:schemeClr val="accent2"/>
              </a:gs>
              <a:gs pos="50000">
                <a:schemeClr val="accent3"/>
              </a:gs>
              <a:gs pos="66000">
                <a:schemeClr val="accent4"/>
              </a:gs>
              <a:gs pos="10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a:p>
        </p:txBody>
      </p:sp>
      <p:pic>
        <p:nvPicPr>
          <p:cNvPr id="6" name="Picture 2" descr="Z:\Quadric\DAMCO\R488 New ppt\DAMCO.png"/>
          <p:cNvPicPr>
            <a:picLocks noChangeAspect="1" noChangeArrowheads="1"/>
          </p:cNvPicPr>
          <p:nvPr/>
        </p:nvPicPr>
        <p:blipFill>
          <a:blip r:embed="rId3" cstate="print"/>
          <a:srcRect/>
          <a:stretch>
            <a:fillRect/>
          </a:stretch>
        </p:blipFill>
        <p:spPr bwMode="auto">
          <a:xfrm>
            <a:off x="7513638" y="476250"/>
            <a:ext cx="1176337" cy="328613"/>
          </a:xfrm>
          <a:prstGeom prst="rect">
            <a:avLst/>
          </a:prstGeom>
          <a:noFill/>
          <a:ln w="9525">
            <a:noFill/>
            <a:miter lim="800000"/>
            <a:headEnd/>
            <a:tailEnd/>
          </a:ln>
        </p:spPr>
      </p:pic>
      <p:sp>
        <p:nvSpPr>
          <p:cNvPr id="7" name="Rektangel 12"/>
          <p:cNvSpPr/>
          <p:nvPr/>
        </p:nvSpPr>
        <p:spPr>
          <a:xfrm rot="16200000">
            <a:off x="4410075" y="-512762"/>
            <a:ext cx="792163" cy="8675687"/>
          </a:xfrm>
          <a:prstGeom prst="rect">
            <a:avLst/>
          </a:prstGeom>
          <a:gradFill>
            <a:gsLst>
              <a:gs pos="0">
                <a:schemeClr val="accent1">
                  <a:alpha val="80000"/>
                </a:schemeClr>
              </a:gs>
              <a:gs pos="33000">
                <a:schemeClr val="accent2">
                  <a:alpha val="80000"/>
                </a:schemeClr>
              </a:gs>
              <a:gs pos="50000">
                <a:schemeClr val="accent3">
                  <a:alpha val="80000"/>
                </a:schemeClr>
              </a:gs>
              <a:gs pos="66000">
                <a:schemeClr val="accent4">
                  <a:alpha val="80000"/>
                </a:schemeClr>
              </a:gs>
              <a:gs pos="100000">
                <a:schemeClr val="accent5">
                  <a:alpha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a:p>
        </p:txBody>
      </p:sp>
      <p:sp>
        <p:nvSpPr>
          <p:cNvPr id="8" name="Kombinationstegning 9"/>
          <p:cNvSpPr/>
          <p:nvPr userDrawn="1"/>
        </p:nvSpPr>
        <p:spPr bwMode="white">
          <a:xfrm>
            <a:off x="114300" y="6486525"/>
            <a:ext cx="584200" cy="574675"/>
          </a:xfrm>
          <a:custGeom>
            <a:avLst/>
            <a:gdLst>
              <a:gd name="connsiteX0" fmla="*/ 0 w 1368152"/>
              <a:gd name="connsiteY0" fmla="*/ 228030 h 1368152"/>
              <a:gd name="connsiteX1" fmla="*/ 228030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8" fmla="*/ 0 w 1368152"/>
              <a:gd name="connsiteY8" fmla="*/ 228030 h 1368152"/>
              <a:gd name="connsiteX0" fmla="*/ 0 w 1368152"/>
              <a:gd name="connsiteY0" fmla="*/ 1140122 h 1368152"/>
              <a:gd name="connsiteX1" fmla="*/ 228030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0" fmla="*/ 0 w 1368152"/>
              <a:gd name="connsiteY0" fmla="*/ 1140122 h 1368152"/>
              <a:gd name="connsiteX1" fmla="*/ 792088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0" fmla="*/ 58006 w 1198128"/>
              <a:gd name="connsiteY0" fmla="*/ 1368152 h 1368152"/>
              <a:gd name="connsiteX1" fmla="*/ 622064 w 1198128"/>
              <a:gd name="connsiteY1" fmla="*/ 0 h 1368152"/>
              <a:gd name="connsiteX2" fmla="*/ 970098 w 1198128"/>
              <a:gd name="connsiteY2" fmla="*/ 0 h 1368152"/>
              <a:gd name="connsiteX3" fmla="*/ 1198128 w 1198128"/>
              <a:gd name="connsiteY3" fmla="*/ 228030 h 1368152"/>
              <a:gd name="connsiteX4" fmla="*/ 1198128 w 1198128"/>
              <a:gd name="connsiteY4" fmla="*/ 1140122 h 1368152"/>
              <a:gd name="connsiteX5" fmla="*/ 970098 w 1198128"/>
              <a:gd name="connsiteY5" fmla="*/ 1368152 h 1368152"/>
              <a:gd name="connsiteX6" fmla="*/ 58006 w 1198128"/>
              <a:gd name="connsiteY6" fmla="*/ 1368152 h 1368152"/>
              <a:gd name="connsiteX0" fmla="*/ 348034 w 576064"/>
              <a:gd name="connsiteY0" fmla="*/ 1368152 h 1368152"/>
              <a:gd name="connsiteX1" fmla="*/ 0 w 576064"/>
              <a:gd name="connsiteY1" fmla="*/ 0 h 1368152"/>
              <a:gd name="connsiteX2" fmla="*/ 348034 w 576064"/>
              <a:gd name="connsiteY2" fmla="*/ 0 h 1368152"/>
              <a:gd name="connsiteX3" fmla="*/ 576064 w 576064"/>
              <a:gd name="connsiteY3" fmla="*/ 228030 h 1368152"/>
              <a:gd name="connsiteX4" fmla="*/ 576064 w 576064"/>
              <a:gd name="connsiteY4" fmla="*/ 1140122 h 1368152"/>
              <a:gd name="connsiteX5" fmla="*/ 348034 w 576064"/>
              <a:gd name="connsiteY5" fmla="*/ 1368152 h 1368152"/>
              <a:gd name="connsiteX0" fmla="*/ 348034 w 576064"/>
              <a:gd name="connsiteY0" fmla="*/ 1368152 h 1368152"/>
              <a:gd name="connsiteX1" fmla="*/ 0 w 576064"/>
              <a:gd name="connsiteY1" fmla="*/ 0 h 1368152"/>
              <a:gd name="connsiteX2" fmla="*/ 348034 w 576064"/>
              <a:gd name="connsiteY2" fmla="*/ 0 h 1368152"/>
              <a:gd name="connsiteX3" fmla="*/ 576064 w 576064"/>
              <a:gd name="connsiteY3" fmla="*/ 228030 h 1368152"/>
              <a:gd name="connsiteX4" fmla="*/ 576064 w 576064"/>
              <a:gd name="connsiteY4" fmla="*/ 576064 h 1368152"/>
              <a:gd name="connsiteX5" fmla="*/ 348034 w 576064"/>
              <a:gd name="connsiteY5" fmla="*/ 1368152 h 1368152"/>
              <a:gd name="connsiteX0" fmla="*/ 0 w 576064"/>
              <a:gd name="connsiteY0" fmla="*/ 648072 h 648072"/>
              <a:gd name="connsiteX1" fmla="*/ 0 w 576064"/>
              <a:gd name="connsiteY1" fmla="*/ 0 h 648072"/>
              <a:gd name="connsiteX2" fmla="*/ 348034 w 576064"/>
              <a:gd name="connsiteY2" fmla="*/ 0 h 648072"/>
              <a:gd name="connsiteX3" fmla="*/ 576064 w 576064"/>
              <a:gd name="connsiteY3" fmla="*/ 228030 h 648072"/>
              <a:gd name="connsiteX4" fmla="*/ 576064 w 576064"/>
              <a:gd name="connsiteY4" fmla="*/ 576064 h 648072"/>
              <a:gd name="connsiteX5" fmla="*/ 0 w 576064"/>
              <a:gd name="connsiteY5" fmla="*/ 648072 h 648072"/>
              <a:gd name="connsiteX0" fmla="*/ 1182 w 577246"/>
              <a:gd name="connsiteY0" fmla="*/ 648072 h 665362"/>
              <a:gd name="connsiteX1" fmla="*/ 1182 w 577246"/>
              <a:gd name="connsiteY1" fmla="*/ 0 h 665362"/>
              <a:gd name="connsiteX2" fmla="*/ 349216 w 577246"/>
              <a:gd name="connsiteY2" fmla="*/ 0 h 665362"/>
              <a:gd name="connsiteX3" fmla="*/ 577246 w 577246"/>
              <a:gd name="connsiteY3" fmla="*/ 228030 h 665362"/>
              <a:gd name="connsiteX4" fmla="*/ 577246 w 577246"/>
              <a:gd name="connsiteY4" fmla="*/ 576064 h 665362"/>
              <a:gd name="connsiteX5" fmla="*/ 1182 w 577246"/>
              <a:gd name="connsiteY5" fmla="*/ 648072 h 665362"/>
              <a:gd name="connsiteX0" fmla="*/ 1182 w 577246"/>
              <a:gd name="connsiteY0" fmla="*/ 648072 h 665362"/>
              <a:gd name="connsiteX1" fmla="*/ 1182 w 577246"/>
              <a:gd name="connsiteY1" fmla="*/ 0 h 665362"/>
              <a:gd name="connsiteX2" fmla="*/ 349216 w 577246"/>
              <a:gd name="connsiteY2" fmla="*/ 0 h 665362"/>
              <a:gd name="connsiteX3" fmla="*/ 577246 w 577246"/>
              <a:gd name="connsiteY3" fmla="*/ 228030 h 665362"/>
              <a:gd name="connsiteX4" fmla="*/ 577246 w 577246"/>
              <a:gd name="connsiteY4" fmla="*/ 576064 h 665362"/>
              <a:gd name="connsiteX5" fmla="*/ 1182 w 577246"/>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1182 w 1081302"/>
              <a:gd name="connsiteY0" fmla="*/ 576064 h 593354"/>
              <a:gd name="connsiteX1" fmla="*/ 505238 w 1081302"/>
              <a:gd name="connsiteY1" fmla="*/ 0 h 593354"/>
              <a:gd name="connsiteX2" fmla="*/ 853272 w 1081302"/>
              <a:gd name="connsiteY2" fmla="*/ 0 h 593354"/>
              <a:gd name="connsiteX3" fmla="*/ 1081302 w 1081302"/>
              <a:gd name="connsiteY3" fmla="*/ 228030 h 593354"/>
              <a:gd name="connsiteX4" fmla="*/ 1081302 w 1081302"/>
              <a:gd name="connsiteY4" fmla="*/ 576064 h 593354"/>
              <a:gd name="connsiteX5" fmla="*/ 1182 w 1081302"/>
              <a:gd name="connsiteY5" fmla="*/ 576064 h 593354"/>
              <a:gd name="connsiteX0" fmla="*/ 1182 w 649254"/>
              <a:gd name="connsiteY0" fmla="*/ 936104 h 953394"/>
              <a:gd name="connsiteX1" fmla="*/ 73190 w 649254"/>
              <a:gd name="connsiteY1" fmla="*/ 0 h 953394"/>
              <a:gd name="connsiteX2" fmla="*/ 421224 w 649254"/>
              <a:gd name="connsiteY2" fmla="*/ 0 h 953394"/>
              <a:gd name="connsiteX3" fmla="*/ 649254 w 649254"/>
              <a:gd name="connsiteY3" fmla="*/ 228030 h 953394"/>
              <a:gd name="connsiteX4" fmla="*/ 649254 w 649254"/>
              <a:gd name="connsiteY4" fmla="*/ 576064 h 953394"/>
              <a:gd name="connsiteX5" fmla="*/ 1182 w 649254"/>
              <a:gd name="connsiteY5" fmla="*/ 936104 h 953394"/>
              <a:gd name="connsiteX0" fmla="*/ 1182 w 865278"/>
              <a:gd name="connsiteY0" fmla="*/ 792088 h 809378"/>
              <a:gd name="connsiteX1" fmla="*/ 289214 w 865278"/>
              <a:gd name="connsiteY1" fmla="*/ 0 h 809378"/>
              <a:gd name="connsiteX2" fmla="*/ 637248 w 865278"/>
              <a:gd name="connsiteY2" fmla="*/ 0 h 809378"/>
              <a:gd name="connsiteX3" fmla="*/ 865278 w 865278"/>
              <a:gd name="connsiteY3" fmla="*/ 228030 h 809378"/>
              <a:gd name="connsiteX4" fmla="*/ 865278 w 865278"/>
              <a:gd name="connsiteY4" fmla="*/ 576064 h 809378"/>
              <a:gd name="connsiteX5" fmla="*/ 1182 w 865278"/>
              <a:gd name="connsiteY5" fmla="*/ 792088 h 809378"/>
              <a:gd name="connsiteX0" fmla="*/ 0 w 864096"/>
              <a:gd name="connsiteY0" fmla="*/ 792088 h 1227997"/>
              <a:gd name="connsiteX1" fmla="*/ 288032 w 864096"/>
              <a:gd name="connsiteY1" fmla="*/ 0 h 1227997"/>
              <a:gd name="connsiteX2" fmla="*/ 636066 w 864096"/>
              <a:gd name="connsiteY2" fmla="*/ 0 h 1227997"/>
              <a:gd name="connsiteX3" fmla="*/ 864096 w 864096"/>
              <a:gd name="connsiteY3" fmla="*/ 228030 h 1227997"/>
              <a:gd name="connsiteX4" fmla="*/ 864096 w 864096"/>
              <a:gd name="connsiteY4" fmla="*/ 576064 h 1227997"/>
              <a:gd name="connsiteX5" fmla="*/ 0 w 864096"/>
              <a:gd name="connsiteY5" fmla="*/ 792088 h 1227997"/>
              <a:gd name="connsiteX0" fmla="*/ 200165 w 1064261"/>
              <a:gd name="connsiteY0" fmla="*/ 792088 h 1227997"/>
              <a:gd name="connsiteX1" fmla="*/ 488197 w 1064261"/>
              <a:gd name="connsiteY1" fmla="*/ 0 h 1227997"/>
              <a:gd name="connsiteX2" fmla="*/ 836231 w 1064261"/>
              <a:gd name="connsiteY2" fmla="*/ 0 h 1227997"/>
              <a:gd name="connsiteX3" fmla="*/ 1064261 w 1064261"/>
              <a:gd name="connsiteY3" fmla="*/ 228030 h 1227997"/>
              <a:gd name="connsiteX4" fmla="*/ 1064261 w 1064261"/>
              <a:gd name="connsiteY4" fmla="*/ 576064 h 1227997"/>
              <a:gd name="connsiteX5" fmla="*/ 200165 w 1064261"/>
              <a:gd name="connsiteY5" fmla="*/ 792088 h 1227997"/>
              <a:gd name="connsiteX0" fmla="*/ 200165 w 1064261"/>
              <a:gd name="connsiteY0" fmla="*/ 792088 h 1227997"/>
              <a:gd name="connsiteX1" fmla="*/ 488197 w 1064261"/>
              <a:gd name="connsiteY1" fmla="*/ 0 h 1227997"/>
              <a:gd name="connsiteX2" fmla="*/ 836231 w 1064261"/>
              <a:gd name="connsiteY2" fmla="*/ 0 h 1227997"/>
              <a:gd name="connsiteX3" fmla="*/ 1064261 w 1064261"/>
              <a:gd name="connsiteY3" fmla="*/ 228030 h 1227997"/>
              <a:gd name="connsiteX4" fmla="*/ 1064261 w 1064261"/>
              <a:gd name="connsiteY4" fmla="*/ 576064 h 1227997"/>
              <a:gd name="connsiteX5" fmla="*/ 200165 w 1064261"/>
              <a:gd name="connsiteY5" fmla="*/ 792088 h 1227997"/>
              <a:gd name="connsiteX0" fmla="*/ 200165 w 1064261"/>
              <a:gd name="connsiteY0" fmla="*/ 792088 h 1265492"/>
              <a:gd name="connsiteX1" fmla="*/ 488197 w 1064261"/>
              <a:gd name="connsiteY1" fmla="*/ 0 h 1265492"/>
              <a:gd name="connsiteX2" fmla="*/ 836231 w 1064261"/>
              <a:gd name="connsiteY2" fmla="*/ 0 h 1265492"/>
              <a:gd name="connsiteX3" fmla="*/ 1064261 w 1064261"/>
              <a:gd name="connsiteY3" fmla="*/ 228030 h 1265492"/>
              <a:gd name="connsiteX4" fmla="*/ 1064261 w 1064261"/>
              <a:gd name="connsiteY4" fmla="*/ 576064 h 1265492"/>
              <a:gd name="connsiteX5" fmla="*/ 200165 w 1064261"/>
              <a:gd name="connsiteY5" fmla="*/ 792088 h 1265492"/>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576064"/>
              <a:gd name="connsiteX1" fmla="*/ 200164 w 776228"/>
              <a:gd name="connsiteY1" fmla="*/ 0 h 576064"/>
              <a:gd name="connsiteX2" fmla="*/ 548198 w 776228"/>
              <a:gd name="connsiteY2" fmla="*/ 0 h 576064"/>
              <a:gd name="connsiteX3" fmla="*/ 776228 w 776228"/>
              <a:gd name="connsiteY3" fmla="*/ 228030 h 576064"/>
              <a:gd name="connsiteX4" fmla="*/ 776228 w 776228"/>
              <a:gd name="connsiteY4" fmla="*/ 576064 h 576064"/>
              <a:gd name="connsiteX5" fmla="*/ 200165 w 776228"/>
              <a:gd name="connsiteY5" fmla="*/ 576063 h 576064"/>
              <a:gd name="connsiteX0" fmla="*/ 58007 w 634070"/>
              <a:gd name="connsiteY0" fmla="*/ 576063 h 586290"/>
              <a:gd name="connsiteX1" fmla="*/ 58006 w 634070"/>
              <a:gd name="connsiteY1" fmla="*/ 0 h 586290"/>
              <a:gd name="connsiteX2" fmla="*/ 406040 w 634070"/>
              <a:gd name="connsiteY2" fmla="*/ 0 h 586290"/>
              <a:gd name="connsiteX3" fmla="*/ 634070 w 634070"/>
              <a:gd name="connsiteY3" fmla="*/ 228030 h 586290"/>
              <a:gd name="connsiteX4" fmla="*/ 634070 w 634070"/>
              <a:gd name="connsiteY4" fmla="*/ 576064 h 586290"/>
              <a:gd name="connsiteX5" fmla="*/ 58007 w 634070"/>
              <a:gd name="connsiteY5" fmla="*/ 576063 h 586290"/>
              <a:gd name="connsiteX0" fmla="*/ 0 w 1008112"/>
              <a:gd name="connsiteY0" fmla="*/ 576064 h 586291"/>
              <a:gd name="connsiteX1" fmla="*/ 432048 w 1008112"/>
              <a:gd name="connsiteY1" fmla="*/ 0 h 586291"/>
              <a:gd name="connsiteX2" fmla="*/ 780082 w 1008112"/>
              <a:gd name="connsiteY2" fmla="*/ 0 h 586291"/>
              <a:gd name="connsiteX3" fmla="*/ 1008112 w 1008112"/>
              <a:gd name="connsiteY3" fmla="*/ 228030 h 586291"/>
              <a:gd name="connsiteX4" fmla="*/ 1008112 w 1008112"/>
              <a:gd name="connsiteY4" fmla="*/ 576064 h 586291"/>
              <a:gd name="connsiteX5" fmla="*/ 0 w 1008112"/>
              <a:gd name="connsiteY5" fmla="*/ 576064 h 586291"/>
              <a:gd name="connsiteX0" fmla="*/ 0 w 1440160"/>
              <a:gd name="connsiteY0" fmla="*/ 720080 h 730307"/>
              <a:gd name="connsiteX1" fmla="*/ 864096 w 1440160"/>
              <a:gd name="connsiteY1" fmla="*/ 0 h 730307"/>
              <a:gd name="connsiteX2" fmla="*/ 1212130 w 1440160"/>
              <a:gd name="connsiteY2" fmla="*/ 0 h 730307"/>
              <a:gd name="connsiteX3" fmla="*/ 1440160 w 1440160"/>
              <a:gd name="connsiteY3" fmla="*/ 228030 h 730307"/>
              <a:gd name="connsiteX4" fmla="*/ 1440160 w 1440160"/>
              <a:gd name="connsiteY4" fmla="*/ 576064 h 730307"/>
              <a:gd name="connsiteX5" fmla="*/ 0 w 1440160"/>
              <a:gd name="connsiteY5" fmla="*/ 720080 h 730307"/>
              <a:gd name="connsiteX0" fmla="*/ 0 w 1440160"/>
              <a:gd name="connsiteY0" fmla="*/ 720080 h 720080"/>
              <a:gd name="connsiteX1" fmla="*/ 864096 w 1440160"/>
              <a:gd name="connsiteY1" fmla="*/ 0 h 720080"/>
              <a:gd name="connsiteX2" fmla="*/ 1212130 w 1440160"/>
              <a:gd name="connsiteY2" fmla="*/ 0 h 720080"/>
              <a:gd name="connsiteX3" fmla="*/ 1440160 w 1440160"/>
              <a:gd name="connsiteY3" fmla="*/ 228030 h 720080"/>
              <a:gd name="connsiteX4" fmla="*/ 1440160 w 1440160"/>
              <a:gd name="connsiteY4" fmla="*/ 576064 h 720080"/>
              <a:gd name="connsiteX5" fmla="*/ 0 w 1440160"/>
              <a:gd name="connsiteY5" fmla="*/ 720080 h 720080"/>
              <a:gd name="connsiteX0" fmla="*/ 0 w 862092"/>
              <a:gd name="connsiteY0" fmla="*/ 715763 h 715763"/>
              <a:gd name="connsiteX1" fmla="*/ 72008 w 862092"/>
              <a:gd name="connsiteY1" fmla="*/ 139699 h 715763"/>
              <a:gd name="connsiteX2" fmla="*/ 420042 w 862092"/>
              <a:gd name="connsiteY2" fmla="*/ 139699 h 715763"/>
              <a:gd name="connsiteX3" fmla="*/ 648072 w 862092"/>
              <a:gd name="connsiteY3" fmla="*/ 367729 h 715763"/>
              <a:gd name="connsiteX4" fmla="*/ 648072 w 862092"/>
              <a:gd name="connsiteY4" fmla="*/ 715763 h 715763"/>
              <a:gd name="connsiteX5" fmla="*/ 0 w 862092"/>
              <a:gd name="connsiteY5" fmla="*/ 715763 h 715763"/>
              <a:gd name="connsiteX0" fmla="*/ 8670 w 656742"/>
              <a:gd name="connsiteY0" fmla="*/ 576064 h 576064"/>
              <a:gd name="connsiteX1" fmla="*/ 80678 w 656742"/>
              <a:gd name="connsiteY1" fmla="*/ 0 h 576064"/>
              <a:gd name="connsiteX2" fmla="*/ 428712 w 656742"/>
              <a:gd name="connsiteY2" fmla="*/ 0 h 576064"/>
              <a:gd name="connsiteX3" fmla="*/ 656742 w 656742"/>
              <a:gd name="connsiteY3" fmla="*/ 228030 h 576064"/>
              <a:gd name="connsiteX4" fmla="*/ 656742 w 656742"/>
              <a:gd name="connsiteY4" fmla="*/ 576064 h 576064"/>
              <a:gd name="connsiteX5" fmla="*/ 8670 w 656742"/>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8670 w 584734"/>
              <a:gd name="connsiteY0" fmla="*/ 576064 h 576064"/>
              <a:gd name="connsiteX1" fmla="*/ 8670 w 584734"/>
              <a:gd name="connsiteY1" fmla="*/ 0 h 576064"/>
              <a:gd name="connsiteX2" fmla="*/ 356704 w 584734"/>
              <a:gd name="connsiteY2" fmla="*/ 0 h 576064"/>
              <a:gd name="connsiteX3" fmla="*/ 584734 w 584734"/>
              <a:gd name="connsiteY3" fmla="*/ 228030 h 576064"/>
              <a:gd name="connsiteX4" fmla="*/ 584734 w 584734"/>
              <a:gd name="connsiteY4" fmla="*/ 576064 h 576064"/>
              <a:gd name="connsiteX5" fmla="*/ 8670 w 584734"/>
              <a:gd name="connsiteY5" fmla="*/ 576064 h 5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734" h="576064">
                <a:moveTo>
                  <a:pt x="8670" y="576064"/>
                </a:moveTo>
                <a:cubicBezTo>
                  <a:pt x="0" y="574110"/>
                  <a:pt x="13740" y="140848"/>
                  <a:pt x="8670" y="0"/>
                </a:cubicBezTo>
                <a:lnTo>
                  <a:pt x="356704" y="0"/>
                </a:lnTo>
                <a:cubicBezTo>
                  <a:pt x="356704" y="125937"/>
                  <a:pt x="458796" y="228030"/>
                  <a:pt x="584734" y="228030"/>
                </a:cubicBezTo>
                <a:lnTo>
                  <a:pt x="584734" y="576064"/>
                </a:lnTo>
                <a:lnTo>
                  <a:pt x="8670" y="57606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a-DK">
                <a:solidFill>
                  <a:srgbClr val="FFFFFF"/>
                </a:solidFill>
                <a:cs typeface="Arial" charset="0"/>
              </a:rPr>
              <a:t>ç</a:t>
            </a:r>
          </a:p>
        </p:txBody>
      </p:sp>
      <p:sp>
        <p:nvSpPr>
          <p:cNvPr id="2" name="Titel 1"/>
          <p:cNvSpPr>
            <a:spLocks noGrp="1"/>
          </p:cNvSpPr>
          <p:nvPr>
            <p:ph type="ctrTitle"/>
          </p:nvPr>
        </p:nvSpPr>
        <p:spPr>
          <a:xfrm>
            <a:off x="468313" y="972344"/>
            <a:ext cx="6911999" cy="1440160"/>
          </a:xfrm>
        </p:spPr>
        <p:txBody>
          <a:bodyPr anchor="b"/>
          <a:lstStyle>
            <a:lvl1pPr>
              <a:defRPr>
                <a:solidFill>
                  <a:schemeClr val="accent5"/>
                </a:solidFill>
              </a:defRPr>
            </a:lvl1pPr>
          </a:lstStyle>
          <a:p>
            <a:r>
              <a:rPr lang="da-DK" noProof="0" dirty="0" smtClean="0"/>
              <a:t>Klik for at redigere titeltypografi i masteren</a:t>
            </a:r>
            <a:endParaRPr lang="da-DK" dirty="0"/>
          </a:p>
        </p:txBody>
      </p:sp>
      <p:sp>
        <p:nvSpPr>
          <p:cNvPr id="3" name="Undertitel 2"/>
          <p:cNvSpPr>
            <a:spLocks noGrp="1"/>
          </p:cNvSpPr>
          <p:nvPr>
            <p:ph type="subTitle" idx="1"/>
          </p:nvPr>
        </p:nvSpPr>
        <p:spPr>
          <a:xfrm>
            <a:off x="468313" y="2484512"/>
            <a:ext cx="6912000" cy="792088"/>
          </a:xfrm>
        </p:spPr>
        <p:txBody>
          <a:bodyPr>
            <a:normAutofit/>
          </a:bodyPr>
          <a:lstStyle>
            <a:lvl1pPr marL="0" indent="0" algn="l">
              <a:buNone/>
              <a:defRPr sz="1400">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a-DK" noProof="0" smtClean="0"/>
              <a:t>Click to edit Master subtitle style</a:t>
            </a:r>
            <a:endParaRPr lang="da-DK" dirty="0" smtClean="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003029"/>
            <a:ext cx="7772400" cy="1362075"/>
          </a:xfrm>
        </p:spPr>
        <p:txBody>
          <a:bodyPr anchor="b" anchorCtr="0">
            <a:normAutofit/>
          </a:bodyPr>
          <a:lstStyle>
            <a:lvl1pPr algn="l">
              <a:defRPr sz="2800" b="1" cap="all">
                <a:solidFill>
                  <a:srgbClr val="FFFFFF"/>
                </a:solidFill>
              </a:defRPr>
            </a:lvl1p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722313" y="4469413"/>
            <a:ext cx="7772400" cy="945867"/>
          </a:xfrm>
        </p:spPr>
        <p:txBody>
          <a:bodyPr anchor="t" anchorCtr="0"/>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pic>
        <p:nvPicPr>
          <p:cNvPr id="10" name="Picture 9"/>
          <p:cNvPicPr>
            <a:picLocks noChangeAspect="1"/>
          </p:cNvPicPr>
          <p:nvPr userDrawn="1"/>
        </p:nvPicPr>
        <p:blipFill>
          <a:blip r:embed="rId3" cstate="print"/>
          <a:stretch>
            <a:fillRect/>
          </a:stretch>
        </p:blipFill>
        <p:spPr>
          <a:xfrm>
            <a:off x="466165" y="4399012"/>
            <a:ext cx="8229600" cy="38100"/>
          </a:xfrm>
          <a:prstGeom prst="rect">
            <a:avLst/>
          </a:prstGeom>
        </p:spPr>
      </p:pic>
      <p:sp>
        <p:nvSpPr>
          <p:cNvPr id="9" name="Date Placeholder 8"/>
          <p:cNvSpPr>
            <a:spLocks noGrp="1"/>
          </p:cNvSpPr>
          <p:nvPr>
            <p:ph type="dt" sz="half" idx="10"/>
          </p:nvPr>
        </p:nvSpPr>
        <p:spPr>
          <a:xfrm>
            <a:off x="470004" y="6519789"/>
            <a:ext cx="974996" cy="230832"/>
          </a:xfrm>
        </p:spPr>
        <p:txBody>
          <a:bodyPr/>
          <a:lstStyle>
            <a:lvl1pPr>
              <a:defRPr>
                <a:solidFill>
                  <a:srgbClr val="FFFFFF"/>
                </a:solidFill>
              </a:defRPr>
            </a:lvl1pPr>
          </a:lstStyle>
          <a:p>
            <a:fld id="{9754C9DB-9CCD-4006-A0EE-B1C35C91DC16}" type="datetime1">
              <a:rPr lang="es-CR" smtClean="0"/>
              <a:pPr/>
              <a:t>29/07/2011</a:t>
            </a:fld>
            <a:endParaRPr lang="en-US" dirty="0"/>
          </a:p>
        </p:txBody>
      </p:sp>
      <p:sp>
        <p:nvSpPr>
          <p:cNvPr id="14" name="Slide Number Placeholder 13"/>
          <p:cNvSpPr>
            <a:spLocks noGrp="1"/>
          </p:cNvSpPr>
          <p:nvPr>
            <p:ph type="sldNum" sz="quarter" idx="11"/>
          </p:nvPr>
        </p:nvSpPr>
        <p:spPr>
          <a:xfrm>
            <a:off x="83924" y="6519789"/>
            <a:ext cx="437421" cy="230832"/>
          </a:xfrm>
        </p:spPr>
        <p:txBody>
          <a:bodyPr/>
          <a:lstStyle>
            <a:lvl1pPr>
              <a:defRPr>
                <a:solidFill>
                  <a:srgbClr val="FFFFFF"/>
                </a:solidFill>
              </a:defRPr>
            </a:lvl1pPr>
          </a:lstStyle>
          <a:p>
            <a:fld id="{E95D9087-60FE-ED43-B7E4-1DE39A33D433}" type="slidenum">
              <a:rPr lang="en-US" smtClean="0"/>
              <a:pPr/>
              <a:t>‹#›</a:t>
            </a:fld>
            <a:endParaRPr lang="en-US" dirty="0"/>
          </a:p>
        </p:txBody>
      </p:sp>
      <p:sp>
        <p:nvSpPr>
          <p:cNvPr id="15" name="Footer Placeholder 14"/>
          <p:cNvSpPr>
            <a:spLocks noGrp="1"/>
          </p:cNvSpPr>
          <p:nvPr>
            <p:ph type="ftr" sz="quarter" idx="12"/>
          </p:nvPr>
        </p:nvSpPr>
        <p:spPr/>
        <p:txBody>
          <a:bodyPr/>
          <a:lstStyle>
            <a:lvl1pPr>
              <a:defRPr>
                <a:solidFill>
                  <a:srgbClr val="FFFFFF"/>
                </a:solidFill>
              </a:defRPr>
            </a:lvl1pPr>
          </a:lstStyle>
          <a:p>
            <a:endParaRPr lang="en-US" dirty="0"/>
          </a:p>
        </p:txBody>
      </p:sp>
    </p:spTree>
    <p:extLst>
      <p:ext uri="{BB962C8B-B14F-4D97-AF65-F5344CB8AC3E}">
        <p14:creationId xmlns:p14="http://schemas.microsoft.com/office/powerpoint/2010/main" xmlns="" val="1974428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1_Section Header">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003029"/>
            <a:ext cx="7772400" cy="1362075"/>
          </a:xfrm>
        </p:spPr>
        <p:txBody>
          <a:bodyPr anchor="b" anchorCtr="0">
            <a:normAutofit/>
          </a:bodyPr>
          <a:lstStyle>
            <a:lvl1pPr algn="l">
              <a:defRPr sz="2800" b="1" cap="all">
                <a:solidFill>
                  <a:srgbClr val="FFFFFF"/>
                </a:solidFill>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4469413"/>
            <a:ext cx="7772400" cy="945867"/>
          </a:xfrm>
        </p:spPr>
        <p:txBody>
          <a:bodyPr anchor="t" anchorCtr="0"/>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pic>
        <p:nvPicPr>
          <p:cNvPr id="10" name="Picture 9"/>
          <p:cNvPicPr>
            <a:picLocks noChangeAspect="1"/>
          </p:cNvPicPr>
          <p:nvPr userDrawn="1"/>
        </p:nvPicPr>
        <p:blipFill>
          <a:blip r:embed="rId3" cstate="print"/>
          <a:stretch>
            <a:fillRect/>
          </a:stretch>
        </p:blipFill>
        <p:spPr>
          <a:xfrm>
            <a:off x="466165" y="4399012"/>
            <a:ext cx="8229600" cy="38100"/>
          </a:xfrm>
          <a:prstGeom prst="rect">
            <a:avLst/>
          </a:prstGeom>
        </p:spPr>
      </p:pic>
      <p:sp>
        <p:nvSpPr>
          <p:cNvPr id="9" name="Date Placeholder 8"/>
          <p:cNvSpPr>
            <a:spLocks noGrp="1"/>
          </p:cNvSpPr>
          <p:nvPr>
            <p:ph type="dt" sz="half" idx="10"/>
          </p:nvPr>
        </p:nvSpPr>
        <p:spPr>
          <a:xfrm>
            <a:off x="470004" y="6519789"/>
            <a:ext cx="974996" cy="230832"/>
          </a:xfrm>
        </p:spPr>
        <p:txBody>
          <a:bodyPr/>
          <a:lstStyle>
            <a:lvl1pPr>
              <a:defRPr>
                <a:solidFill>
                  <a:srgbClr val="FFFFFF"/>
                </a:solidFill>
              </a:defRPr>
            </a:lvl1pPr>
          </a:lstStyle>
          <a:p>
            <a:fld id="{991D2297-5E33-4D6B-B6DE-C579967CAA6F}" type="datetime1">
              <a:rPr lang="es-CR" smtClean="0"/>
              <a:pPr/>
              <a:t>29/07/2011</a:t>
            </a:fld>
            <a:endParaRPr lang="en-US" dirty="0"/>
          </a:p>
        </p:txBody>
      </p:sp>
      <p:sp>
        <p:nvSpPr>
          <p:cNvPr id="14" name="Slide Number Placeholder 13"/>
          <p:cNvSpPr>
            <a:spLocks noGrp="1"/>
          </p:cNvSpPr>
          <p:nvPr>
            <p:ph type="sldNum" sz="quarter" idx="11"/>
          </p:nvPr>
        </p:nvSpPr>
        <p:spPr>
          <a:xfrm>
            <a:off x="83924" y="6519789"/>
            <a:ext cx="437421" cy="230832"/>
          </a:xfrm>
        </p:spPr>
        <p:txBody>
          <a:bodyPr/>
          <a:lstStyle>
            <a:lvl1pPr>
              <a:defRPr>
                <a:solidFill>
                  <a:srgbClr val="FFFFFF"/>
                </a:solidFill>
              </a:defRPr>
            </a:lvl1pPr>
          </a:lstStyle>
          <a:p>
            <a:fld id="{E95D9087-60FE-ED43-B7E4-1DE39A33D433}" type="slidenum">
              <a:rPr lang="en-US" smtClean="0"/>
              <a:pPr/>
              <a:t>‹#›</a:t>
            </a:fld>
            <a:endParaRPr lang="en-US" dirty="0"/>
          </a:p>
        </p:txBody>
      </p:sp>
      <p:sp>
        <p:nvSpPr>
          <p:cNvPr id="15" name="Footer Placeholder 14"/>
          <p:cNvSpPr>
            <a:spLocks noGrp="1"/>
          </p:cNvSpPr>
          <p:nvPr>
            <p:ph type="ftr" sz="quarter" idx="12"/>
          </p:nvPr>
        </p:nvSpPr>
        <p:spPr/>
        <p:txBody>
          <a:bodyPr/>
          <a:lstStyle>
            <a:lvl1pPr>
              <a:defRPr>
                <a:solidFill>
                  <a:srgbClr val="FFFFFF"/>
                </a:solidFill>
              </a:defRPr>
            </a:lvl1pPr>
          </a:lstStyle>
          <a:p>
            <a:endParaRPr lang="en-US" dirty="0"/>
          </a:p>
        </p:txBody>
      </p:sp>
    </p:spTree>
    <p:extLst>
      <p:ext uri="{BB962C8B-B14F-4D97-AF65-F5344CB8AC3E}">
        <p14:creationId xmlns:p14="http://schemas.microsoft.com/office/powerpoint/2010/main" xmlns="" val="1974428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reserve="1">
  <p:cSld name="2_Section Header">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003029"/>
            <a:ext cx="7772400" cy="1362075"/>
          </a:xfrm>
        </p:spPr>
        <p:txBody>
          <a:bodyPr anchor="b" anchorCtr="0">
            <a:normAutofit/>
          </a:bodyPr>
          <a:lstStyle>
            <a:lvl1pPr algn="l">
              <a:defRPr sz="2800" b="1" cap="all">
                <a:solidFill>
                  <a:schemeClr val="bg1"/>
                </a:solidFill>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4469413"/>
            <a:ext cx="7772400" cy="945867"/>
          </a:xfrm>
        </p:spPr>
        <p:txBody>
          <a:bodyPr anchor="t" anchorCtr="0"/>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pic>
        <p:nvPicPr>
          <p:cNvPr id="10" name="Picture 9"/>
          <p:cNvPicPr>
            <a:picLocks noChangeAspect="1"/>
          </p:cNvPicPr>
          <p:nvPr userDrawn="1"/>
        </p:nvPicPr>
        <p:blipFill>
          <a:blip r:embed="rId3" cstate="print"/>
          <a:stretch>
            <a:fillRect/>
          </a:stretch>
        </p:blipFill>
        <p:spPr>
          <a:xfrm>
            <a:off x="466165" y="4399012"/>
            <a:ext cx="8229600" cy="38100"/>
          </a:xfrm>
          <a:prstGeom prst="rect">
            <a:avLst/>
          </a:prstGeom>
        </p:spPr>
      </p:pic>
      <p:sp>
        <p:nvSpPr>
          <p:cNvPr id="9" name="Date Placeholder 8"/>
          <p:cNvSpPr>
            <a:spLocks noGrp="1"/>
          </p:cNvSpPr>
          <p:nvPr>
            <p:ph type="dt" sz="half" idx="10"/>
          </p:nvPr>
        </p:nvSpPr>
        <p:spPr>
          <a:xfrm>
            <a:off x="470004" y="6519789"/>
            <a:ext cx="974996" cy="230832"/>
          </a:xfrm>
        </p:spPr>
        <p:txBody>
          <a:bodyPr/>
          <a:lstStyle>
            <a:lvl1pPr>
              <a:defRPr>
                <a:solidFill>
                  <a:srgbClr val="FFFFFF"/>
                </a:solidFill>
              </a:defRPr>
            </a:lvl1pPr>
          </a:lstStyle>
          <a:p>
            <a:fld id="{7540F09E-0C8D-4D28-BFE2-CC82CE709E0E}" type="datetime1">
              <a:rPr lang="es-CR" smtClean="0"/>
              <a:pPr/>
              <a:t>29/07/2011</a:t>
            </a:fld>
            <a:endParaRPr lang="en-US" dirty="0"/>
          </a:p>
        </p:txBody>
      </p:sp>
      <p:sp>
        <p:nvSpPr>
          <p:cNvPr id="14" name="Slide Number Placeholder 13"/>
          <p:cNvSpPr>
            <a:spLocks noGrp="1"/>
          </p:cNvSpPr>
          <p:nvPr>
            <p:ph type="sldNum" sz="quarter" idx="11"/>
          </p:nvPr>
        </p:nvSpPr>
        <p:spPr>
          <a:xfrm>
            <a:off x="83924" y="6519789"/>
            <a:ext cx="437421" cy="230832"/>
          </a:xfrm>
        </p:spPr>
        <p:txBody>
          <a:bodyPr/>
          <a:lstStyle>
            <a:lvl1pPr>
              <a:defRPr>
                <a:solidFill>
                  <a:srgbClr val="FFFFFF"/>
                </a:solidFill>
              </a:defRPr>
            </a:lvl1pPr>
          </a:lstStyle>
          <a:p>
            <a:fld id="{E95D9087-60FE-ED43-B7E4-1DE39A33D433}" type="slidenum">
              <a:rPr lang="en-US" smtClean="0"/>
              <a:pPr/>
              <a:t>‹#›</a:t>
            </a:fld>
            <a:endParaRPr lang="en-US" dirty="0"/>
          </a:p>
        </p:txBody>
      </p:sp>
      <p:sp>
        <p:nvSpPr>
          <p:cNvPr id="15" name="Footer Placeholder 14"/>
          <p:cNvSpPr>
            <a:spLocks noGrp="1"/>
          </p:cNvSpPr>
          <p:nvPr>
            <p:ph type="ftr" sz="quarter" idx="12"/>
          </p:nvPr>
        </p:nvSpPr>
        <p:spPr/>
        <p:txBody>
          <a:bodyPr/>
          <a:lstStyle>
            <a:lvl1pPr>
              <a:defRPr>
                <a:solidFill>
                  <a:srgbClr val="FFFFFF"/>
                </a:solidFill>
              </a:defRPr>
            </a:lvl1pPr>
          </a:lstStyle>
          <a:p>
            <a:endParaRPr lang="en-US" dirty="0"/>
          </a:p>
        </p:txBody>
      </p:sp>
    </p:spTree>
    <p:extLst>
      <p:ext uri="{BB962C8B-B14F-4D97-AF65-F5344CB8AC3E}">
        <p14:creationId xmlns:p14="http://schemas.microsoft.com/office/powerpoint/2010/main" xmlns="" val="1974428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secHead" preserve="1">
  <p:cSld name="3_Section Header">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003029"/>
            <a:ext cx="7772400" cy="1362075"/>
          </a:xfrm>
        </p:spPr>
        <p:txBody>
          <a:bodyPr anchor="b" anchorCtr="0">
            <a:normAutofit/>
          </a:bodyPr>
          <a:lstStyle>
            <a:lvl1pPr algn="l">
              <a:defRPr sz="2800" b="1" cap="all">
                <a:solidFill>
                  <a:schemeClr val="bg1"/>
                </a:solidFill>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4469413"/>
            <a:ext cx="7772400" cy="945867"/>
          </a:xfrm>
        </p:spPr>
        <p:txBody>
          <a:bodyPr anchor="t" anchorCtr="0"/>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pic>
        <p:nvPicPr>
          <p:cNvPr id="10" name="Picture 9"/>
          <p:cNvPicPr>
            <a:picLocks noChangeAspect="1"/>
          </p:cNvPicPr>
          <p:nvPr userDrawn="1"/>
        </p:nvPicPr>
        <p:blipFill>
          <a:blip r:embed="rId3" cstate="print"/>
          <a:stretch>
            <a:fillRect/>
          </a:stretch>
        </p:blipFill>
        <p:spPr>
          <a:xfrm>
            <a:off x="466165" y="4399012"/>
            <a:ext cx="8229600" cy="38100"/>
          </a:xfrm>
          <a:prstGeom prst="rect">
            <a:avLst/>
          </a:prstGeom>
        </p:spPr>
      </p:pic>
      <p:sp>
        <p:nvSpPr>
          <p:cNvPr id="9" name="Date Placeholder 8"/>
          <p:cNvSpPr>
            <a:spLocks noGrp="1"/>
          </p:cNvSpPr>
          <p:nvPr>
            <p:ph type="dt" sz="half" idx="10"/>
          </p:nvPr>
        </p:nvSpPr>
        <p:spPr/>
        <p:txBody>
          <a:bodyPr/>
          <a:lstStyle>
            <a:lvl1pPr>
              <a:defRPr>
                <a:solidFill>
                  <a:schemeClr val="bg1"/>
                </a:solidFill>
              </a:defRPr>
            </a:lvl1pPr>
          </a:lstStyle>
          <a:p>
            <a:fld id="{91B5A25C-1495-4CB9-9064-1A80B928D5E4}" type="datetime1">
              <a:rPr lang="es-CR" smtClean="0">
                <a:solidFill>
                  <a:srgbClr val="FFFFFF"/>
                </a:solidFill>
              </a:rPr>
              <a:pPr/>
              <a:t>29/07/2011</a:t>
            </a:fld>
            <a:endParaRPr lang="en-US" dirty="0">
              <a:solidFill>
                <a:srgbClr val="FFFFFF"/>
              </a:solidFill>
            </a:endParaRPr>
          </a:p>
        </p:txBody>
      </p:sp>
      <p:sp>
        <p:nvSpPr>
          <p:cNvPr id="14" name="Slide Number Placeholder 13"/>
          <p:cNvSpPr>
            <a:spLocks noGrp="1"/>
          </p:cNvSpPr>
          <p:nvPr>
            <p:ph type="sldNum" sz="quarter" idx="11"/>
          </p:nvPr>
        </p:nvSpPr>
        <p:spPr/>
        <p:txBody>
          <a:bodyPr/>
          <a:lstStyle>
            <a:lvl1pPr>
              <a:defRPr>
                <a:solidFill>
                  <a:schemeClr val="bg1"/>
                </a:solidFill>
              </a:defRPr>
            </a:lvl1pPr>
          </a:lstStyle>
          <a:p>
            <a:fld id="{E95D9087-60FE-ED43-B7E4-1DE39A33D433}" type="slidenum">
              <a:rPr lang="en-US" smtClean="0">
                <a:solidFill>
                  <a:srgbClr val="FFFFFF"/>
                </a:solidFill>
              </a:rPr>
              <a:pPr/>
              <a:t>‹#›</a:t>
            </a:fld>
            <a:endParaRPr lang="en-US" dirty="0">
              <a:solidFill>
                <a:srgbClr val="FFFFFF"/>
              </a:solidFill>
            </a:endParaRPr>
          </a:p>
        </p:txBody>
      </p:sp>
      <p:sp>
        <p:nvSpPr>
          <p:cNvPr id="15" name="Footer Placeholder 14"/>
          <p:cNvSpPr>
            <a:spLocks noGrp="1"/>
          </p:cNvSpPr>
          <p:nvPr>
            <p:ph type="ftr" sz="quarter" idx="12"/>
          </p:nvPr>
        </p:nvSpPr>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xmlns="" val="1974428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4_Section Header">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003029"/>
            <a:ext cx="7772400" cy="1362075"/>
          </a:xfrm>
        </p:spPr>
        <p:txBody>
          <a:bodyPr anchor="b" anchorCtr="0">
            <a:normAutofit/>
          </a:bodyPr>
          <a:lstStyle>
            <a:lvl1pPr algn="l">
              <a:defRPr sz="2800" b="1" cap="all">
                <a:solidFill>
                  <a:schemeClr val="bg1"/>
                </a:solidFill>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4469413"/>
            <a:ext cx="7772400" cy="945867"/>
          </a:xfrm>
        </p:spPr>
        <p:txBody>
          <a:bodyPr anchor="t" anchorCtr="0"/>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pic>
        <p:nvPicPr>
          <p:cNvPr id="10" name="Picture 9"/>
          <p:cNvPicPr>
            <a:picLocks noChangeAspect="1"/>
          </p:cNvPicPr>
          <p:nvPr userDrawn="1"/>
        </p:nvPicPr>
        <p:blipFill>
          <a:blip r:embed="rId3" cstate="print"/>
          <a:stretch>
            <a:fillRect/>
          </a:stretch>
        </p:blipFill>
        <p:spPr>
          <a:xfrm>
            <a:off x="466165" y="4399012"/>
            <a:ext cx="8229600" cy="38100"/>
          </a:xfrm>
          <a:prstGeom prst="rect">
            <a:avLst/>
          </a:prstGeom>
        </p:spPr>
      </p:pic>
      <p:sp>
        <p:nvSpPr>
          <p:cNvPr id="9" name="Date Placeholder 8"/>
          <p:cNvSpPr>
            <a:spLocks noGrp="1"/>
          </p:cNvSpPr>
          <p:nvPr>
            <p:ph type="dt" sz="half" idx="10"/>
          </p:nvPr>
        </p:nvSpPr>
        <p:spPr/>
        <p:txBody>
          <a:bodyPr/>
          <a:lstStyle>
            <a:lvl1pPr>
              <a:defRPr>
                <a:solidFill>
                  <a:schemeClr val="bg1"/>
                </a:solidFill>
              </a:defRPr>
            </a:lvl1pPr>
          </a:lstStyle>
          <a:p>
            <a:fld id="{FD578333-02DD-426F-AD1A-93E8D0AC848F}" type="datetime1">
              <a:rPr lang="es-CR" smtClean="0">
                <a:solidFill>
                  <a:srgbClr val="FFFFFF"/>
                </a:solidFill>
              </a:rPr>
              <a:pPr/>
              <a:t>29/07/2011</a:t>
            </a:fld>
            <a:endParaRPr lang="en-US" dirty="0">
              <a:solidFill>
                <a:srgbClr val="FFFFFF"/>
              </a:solidFill>
            </a:endParaRPr>
          </a:p>
        </p:txBody>
      </p:sp>
      <p:sp>
        <p:nvSpPr>
          <p:cNvPr id="14" name="Slide Number Placeholder 13"/>
          <p:cNvSpPr>
            <a:spLocks noGrp="1"/>
          </p:cNvSpPr>
          <p:nvPr>
            <p:ph type="sldNum" sz="quarter" idx="11"/>
          </p:nvPr>
        </p:nvSpPr>
        <p:spPr/>
        <p:txBody>
          <a:bodyPr/>
          <a:lstStyle>
            <a:lvl1pPr>
              <a:defRPr>
                <a:solidFill>
                  <a:schemeClr val="bg1"/>
                </a:solidFill>
              </a:defRPr>
            </a:lvl1pPr>
          </a:lstStyle>
          <a:p>
            <a:fld id="{E95D9087-60FE-ED43-B7E4-1DE39A33D433}" type="slidenum">
              <a:rPr lang="en-US" smtClean="0">
                <a:solidFill>
                  <a:srgbClr val="FFFFFF"/>
                </a:solidFill>
              </a:rPr>
              <a:pPr/>
              <a:t>‹#›</a:t>
            </a:fld>
            <a:endParaRPr lang="en-US" dirty="0">
              <a:solidFill>
                <a:srgbClr val="FFFFFF"/>
              </a:solidFill>
            </a:endParaRPr>
          </a:p>
        </p:txBody>
      </p:sp>
      <p:sp>
        <p:nvSpPr>
          <p:cNvPr id="15" name="Footer Placeholder 14"/>
          <p:cNvSpPr>
            <a:spLocks noGrp="1"/>
          </p:cNvSpPr>
          <p:nvPr>
            <p:ph type="ftr" sz="quarter" idx="12"/>
          </p:nvPr>
        </p:nvSpPr>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xmlns="" val="197442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06BA43F1-2CB3-4679-8DBB-1EC76DF83A64}" type="datetime1">
              <a:rPr lang="es-CR" smtClean="0">
                <a:solidFill>
                  <a:srgbClr val="231F20">
                    <a:tint val="75000"/>
                  </a:srgbClr>
                </a:solidFill>
              </a:rPr>
              <a:pPr/>
              <a:t>29/07/2011</a:t>
            </a:fld>
            <a:endParaRPr lang="en-US" dirty="0">
              <a:solidFill>
                <a:srgbClr val="231F20">
                  <a:tint val="75000"/>
                </a:srgbClr>
              </a:solidFill>
            </a:endParaRPr>
          </a:p>
        </p:txBody>
      </p:sp>
      <p:sp>
        <p:nvSpPr>
          <p:cNvPr id="9" name="Slide Number Placeholder 8"/>
          <p:cNvSpPr>
            <a:spLocks noGrp="1"/>
          </p:cNvSpPr>
          <p:nvPr>
            <p:ph type="sldNum" sz="quarter" idx="11"/>
          </p:nvPr>
        </p:nvSpPr>
        <p:spPr/>
        <p:txBody>
          <a:bodyPr/>
          <a:lstStyle/>
          <a:p>
            <a:fld id="{E95D9087-60FE-ED43-B7E4-1DE39A33D433}" type="slidenum">
              <a:rPr lang="en-US" smtClean="0">
                <a:solidFill>
                  <a:srgbClr val="231F20">
                    <a:tint val="75000"/>
                  </a:srgbClr>
                </a:solidFill>
              </a:rPr>
              <a:pPr/>
              <a:t>‹#›</a:t>
            </a:fld>
            <a:endParaRPr lang="en-US" dirty="0">
              <a:solidFill>
                <a:srgbClr val="231F20">
                  <a:tint val="75000"/>
                </a:srgbClr>
              </a:solidFill>
            </a:endParaRPr>
          </a:p>
        </p:txBody>
      </p:sp>
      <p:sp>
        <p:nvSpPr>
          <p:cNvPr id="10" name="Footer Placeholder 9"/>
          <p:cNvSpPr>
            <a:spLocks noGrp="1"/>
          </p:cNvSpPr>
          <p:nvPr>
            <p:ph type="ftr" sz="quarter" idx="12"/>
          </p:nvPr>
        </p:nvSpPr>
        <p:spPr/>
        <p:txBody>
          <a:bodyPr/>
          <a:lstStyle/>
          <a:p>
            <a:endParaRPr lang="en-US" dirty="0">
              <a:solidFill>
                <a:srgbClr val="231F20">
                  <a:tint val="75000"/>
                </a:srgbClr>
              </a:solidFill>
            </a:endParaRPr>
          </a:p>
        </p:txBody>
      </p:sp>
    </p:spTree>
    <p:extLst>
      <p:ext uri="{BB962C8B-B14F-4D97-AF65-F5344CB8AC3E}">
        <p14:creationId xmlns:p14="http://schemas.microsoft.com/office/powerpoint/2010/main" xmlns="" val="26392226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6725" y="247651"/>
            <a:ext cx="8229600" cy="863600"/>
          </a:xfrm>
        </p:spPr>
        <p:txBody>
          <a:bodyPr/>
          <a:lstStyle/>
          <a:p>
            <a:r>
              <a:rPr lang="en-US"/>
              <a:t>Click to edit Master title style</a:t>
            </a:r>
            <a:endParaRPr lang="da-DK"/>
          </a:p>
        </p:txBody>
      </p:sp>
      <p:sp>
        <p:nvSpPr>
          <p:cNvPr id="3" name="Content Placeholder 2"/>
          <p:cNvSpPr>
            <a:spLocks noGrp="1"/>
          </p:cNvSpPr>
          <p:nvPr>
            <p:ph idx="1"/>
          </p:nvPr>
        </p:nvSpPr>
        <p:spPr>
          <a:xfrm>
            <a:off x="466725" y="1407585"/>
            <a:ext cx="8218488" cy="4938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p:cNvSpPr>
            <a:spLocks noGrp="1"/>
          </p:cNvSpPr>
          <p:nvPr>
            <p:ph type="dt" sz="half" idx="10"/>
          </p:nvPr>
        </p:nvSpPr>
        <p:spPr>
          <a:xfrm>
            <a:off x="469901" y="6519276"/>
            <a:ext cx="984565" cy="230832"/>
          </a:xfrm>
        </p:spPr>
        <p:txBody>
          <a:bodyPr/>
          <a:lstStyle>
            <a:lvl1pPr>
              <a:defRPr/>
            </a:lvl1pPr>
          </a:lstStyle>
          <a:p>
            <a:pPr>
              <a:defRPr/>
            </a:pPr>
            <a:fld id="{3B4655E5-B609-4F71-A250-9E2DD88827B9}" type="datetime1">
              <a:rPr lang="es-CR" smtClean="0">
                <a:solidFill>
                  <a:srgbClr val="231F20">
                    <a:tint val="75000"/>
                  </a:srgbClr>
                </a:solidFill>
              </a:rPr>
              <a:pPr>
                <a:defRPr/>
              </a:pPr>
              <a:t>29/07/2011</a:t>
            </a:fld>
            <a:endParaRPr lang="en-US" dirty="0">
              <a:solidFill>
                <a:srgbClr val="231F20">
                  <a:tint val="75000"/>
                </a:srgbClr>
              </a:solidFill>
            </a:endParaRPr>
          </a:p>
        </p:txBody>
      </p:sp>
      <p:sp>
        <p:nvSpPr>
          <p:cNvPr id="5" name="Footer Placeholder 4"/>
          <p:cNvSpPr>
            <a:spLocks noGrp="1"/>
          </p:cNvSpPr>
          <p:nvPr>
            <p:ph type="ftr" sz="quarter" idx="11"/>
          </p:nvPr>
        </p:nvSpPr>
        <p:spPr>
          <a:xfrm>
            <a:off x="1631951" y="6519276"/>
            <a:ext cx="1390124" cy="230832"/>
          </a:xfrm>
        </p:spPr>
        <p:txBody>
          <a:bodyPr/>
          <a:lstStyle>
            <a:lvl1pPr>
              <a:defRPr/>
            </a:lvl1pPr>
          </a:lstStyle>
          <a:p>
            <a:pPr>
              <a:defRPr/>
            </a:pPr>
            <a:endParaRPr lang="en-US" dirty="0">
              <a:solidFill>
                <a:srgbClr val="231F20">
                  <a:tint val="75000"/>
                </a:srgbClr>
              </a:solidFill>
            </a:endParaRPr>
          </a:p>
        </p:txBody>
      </p:sp>
      <p:sp>
        <p:nvSpPr>
          <p:cNvPr id="6" name="Slide Number Placeholder 5"/>
          <p:cNvSpPr>
            <a:spLocks noGrp="1"/>
          </p:cNvSpPr>
          <p:nvPr>
            <p:ph type="sldNum" sz="quarter" idx="12"/>
          </p:nvPr>
        </p:nvSpPr>
        <p:spPr>
          <a:xfrm>
            <a:off x="84139" y="6518217"/>
            <a:ext cx="385042" cy="230832"/>
          </a:xfrm>
        </p:spPr>
        <p:txBody>
          <a:bodyPr/>
          <a:lstStyle>
            <a:lvl1pPr>
              <a:defRPr/>
            </a:lvl1pPr>
          </a:lstStyle>
          <a:p>
            <a:pPr>
              <a:defRPr/>
            </a:pPr>
            <a:fld id="{9268AC58-841C-4944-AB5A-47807A8DE55A}" type="slidenum">
              <a:rPr lang="en-US">
                <a:solidFill>
                  <a:srgbClr val="231F20">
                    <a:tint val="75000"/>
                  </a:srgbClr>
                </a:solidFill>
              </a:rPr>
              <a:pPr>
                <a:defRPr/>
              </a:pPr>
              <a:t>‹#›</a:t>
            </a:fld>
            <a:endParaRPr lang="en-US" dirty="0">
              <a:solidFill>
                <a:srgbClr val="231F20">
                  <a:tint val="75000"/>
                </a:srgbClr>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da-DK"/>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da-DK"/>
          </a:p>
        </p:txBody>
      </p:sp>
      <p:sp>
        <p:nvSpPr>
          <p:cNvPr id="4" name="Slide Number Placeholder 3"/>
          <p:cNvSpPr>
            <a:spLocks noGrp="1"/>
          </p:cNvSpPr>
          <p:nvPr>
            <p:ph type="sldNum" sz="quarter" idx="10"/>
          </p:nvPr>
        </p:nvSpPr>
        <p:spPr/>
        <p:txBody>
          <a:bodyPr/>
          <a:lstStyle>
            <a:lvl1pPr>
              <a:defRPr/>
            </a:lvl1pPr>
          </a:lstStyle>
          <a:p>
            <a:pPr>
              <a:defRPr/>
            </a:pPr>
            <a:fld id="{F1BE0FAC-FF6F-4836-A757-36004DBED3B5}" type="slidenum">
              <a:rPr lang="da-DK"/>
              <a:pPr>
                <a:defRPr/>
              </a:pPr>
              <a:t>‹#›</a:t>
            </a:fld>
            <a:endParaRPr lang="da-DK"/>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Slide Number Placeholder 3"/>
          <p:cNvSpPr>
            <a:spLocks noGrp="1"/>
          </p:cNvSpPr>
          <p:nvPr>
            <p:ph type="sldNum" sz="quarter" idx="10"/>
          </p:nvPr>
        </p:nvSpPr>
        <p:spPr/>
        <p:txBody>
          <a:bodyPr/>
          <a:lstStyle>
            <a:lvl1pPr>
              <a:defRPr/>
            </a:lvl1pPr>
          </a:lstStyle>
          <a:p>
            <a:pPr>
              <a:defRPr/>
            </a:pPr>
            <a:fld id="{C57A092C-9DF0-4850-8D33-ED42CD6B7450}" type="slidenum">
              <a:rPr lang="da-DK"/>
              <a:pPr>
                <a:defRPr/>
              </a:pPr>
              <a:t>‹#›</a:t>
            </a:fld>
            <a:endParaRPr lang="da-DK"/>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da-DK"/>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pPr>
              <a:defRPr/>
            </a:pPr>
            <a:fld id="{1E3AF991-28AA-446D-99C1-A210ED1239D6}" type="slidenum">
              <a:rPr lang="da-DK"/>
              <a:pPr>
                <a:defRPr/>
              </a:pPr>
              <a:t>‹#›</a:t>
            </a:fld>
            <a:endParaRPr lang="da-DK"/>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and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noProof="0" smtClean="0"/>
              <a:t>Klik for at redigere titeltypografi i masteren</a:t>
            </a:r>
            <a:endParaRPr lang="da-DK" dirty="0"/>
          </a:p>
        </p:txBody>
      </p:sp>
      <p:sp>
        <p:nvSpPr>
          <p:cNvPr id="3" name="Pladsholder til indhold 2"/>
          <p:cNvSpPr>
            <a:spLocks noGrp="1"/>
          </p:cNvSpPr>
          <p:nvPr>
            <p:ph idx="1"/>
          </p:nvPr>
        </p:nvSpPr>
        <p:spPr/>
        <p:txBody>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en-US" noProof="0" dirty="0"/>
          </a:p>
        </p:txBody>
      </p:sp>
      <p:sp>
        <p:nvSpPr>
          <p:cNvPr id="4" name="Pladsholder til sidefod 4"/>
          <p:cNvSpPr>
            <a:spLocks noGrp="1"/>
          </p:cNvSpPr>
          <p:nvPr>
            <p:ph type="ftr" sz="quarter" idx="10"/>
          </p:nvPr>
        </p:nvSpPr>
        <p:spPr/>
        <p:txBody>
          <a:bodyPr/>
          <a:lstStyle>
            <a:lvl1pPr>
              <a:defRPr/>
            </a:lvl1pPr>
          </a:lstStyle>
          <a:p>
            <a:pPr>
              <a:defRPr/>
            </a:pPr>
            <a:endParaRPr lang="da-DK"/>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sz="half" idx="1"/>
          </p:nvPr>
        </p:nvSpPr>
        <p:spPr>
          <a:xfrm>
            <a:off x="684213" y="1412875"/>
            <a:ext cx="3990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Content Placeholder 3"/>
          <p:cNvSpPr>
            <a:spLocks noGrp="1"/>
          </p:cNvSpPr>
          <p:nvPr>
            <p:ph sz="half" idx="2"/>
          </p:nvPr>
        </p:nvSpPr>
        <p:spPr>
          <a:xfrm>
            <a:off x="4827588" y="1412875"/>
            <a:ext cx="3992562"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Slide Number Placeholder 4"/>
          <p:cNvSpPr>
            <a:spLocks noGrp="1"/>
          </p:cNvSpPr>
          <p:nvPr>
            <p:ph type="sldNum" sz="quarter" idx="10"/>
          </p:nvPr>
        </p:nvSpPr>
        <p:spPr/>
        <p:txBody>
          <a:bodyPr/>
          <a:lstStyle>
            <a:lvl1pPr>
              <a:defRPr/>
            </a:lvl1pPr>
          </a:lstStyle>
          <a:p>
            <a:pPr>
              <a:defRPr/>
            </a:pPr>
            <a:fld id="{A314893C-10CD-4909-879C-6508BD0AB074}" type="slidenum">
              <a:rPr lang="da-DK"/>
              <a:pPr>
                <a:defRPr/>
              </a:pPr>
              <a:t>‹#›</a:t>
            </a:fld>
            <a:endParaRPr lang="da-DK"/>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a-DK"/>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7" name="Slide Number Placeholder 6"/>
          <p:cNvSpPr>
            <a:spLocks noGrp="1"/>
          </p:cNvSpPr>
          <p:nvPr>
            <p:ph type="sldNum" sz="quarter" idx="10"/>
          </p:nvPr>
        </p:nvSpPr>
        <p:spPr/>
        <p:txBody>
          <a:bodyPr/>
          <a:lstStyle>
            <a:lvl1pPr>
              <a:defRPr/>
            </a:lvl1pPr>
          </a:lstStyle>
          <a:p>
            <a:pPr>
              <a:defRPr/>
            </a:pPr>
            <a:fld id="{8C8FCD87-0660-40C6-943F-83443DE479E4}" type="slidenum">
              <a:rPr lang="da-DK"/>
              <a:pPr>
                <a:defRPr/>
              </a:pPr>
              <a:t>‹#›</a:t>
            </a:fld>
            <a:endParaRPr lang="da-DK"/>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Slide Number Placeholder 2"/>
          <p:cNvSpPr>
            <a:spLocks noGrp="1"/>
          </p:cNvSpPr>
          <p:nvPr>
            <p:ph type="sldNum" sz="quarter" idx="10"/>
          </p:nvPr>
        </p:nvSpPr>
        <p:spPr/>
        <p:txBody>
          <a:bodyPr/>
          <a:lstStyle>
            <a:lvl1pPr>
              <a:defRPr/>
            </a:lvl1pPr>
          </a:lstStyle>
          <a:p>
            <a:pPr>
              <a:defRPr/>
            </a:pPr>
            <a:fld id="{5AEA8E1D-0B1C-4F5C-9D33-75AB76D49389}" type="slidenum">
              <a:rPr lang="da-DK"/>
              <a:pPr>
                <a:defRPr/>
              </a:pPr>
              <a:t>‹#›</a:t>
            </a:fld>
            <a:endParaRPr lang="da-DK"/>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fld id="{7829A857-E4A7-46AE-9012-4CD147598BC7}" type="slidenum">
              <a:rPr lang="da-DK"/>
              <a:pPr>
                <a:defRPr/>
              </a:pPr>
              <a:t>‹#›</a:t>
            </a:fld>
            <a:endParaRPr lang="da-DK"/>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da-DK"/>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a:defRPr/>
            </a:pPr>
            <a:fld id="{8EA1CB2C-27D6-40B5-B6D3-5100E23DCB7E}" type="slidenum">
              <a:rPr lang="da-DK"/>
              <a:pPr>
                <a:defRPr/>
              </a:pPr>
              <a:t>‹#›</a:t>
            </a:fld>
            <a:endParaRPr lang="da-DK"/>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da-DK"/>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a:defRPr/>
            </a:pPr>
            <a:fld id="{3FB51753-F34C-4C3A-985B-1F69E23E8ED8}" type="slidenum">
              <a:rPr lang="da-DK"/>
              <a:pPr>
                <a:defRPr/>
              </a:pPr>
              <a:t>‹#›</a:t>
            </a:fld>
            <a:endParaRPr lang="da-DK"/>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Slide Number Placeholder 3"/>
          <p:cNvSpPr>
            <a:spLocks noGrp="1"/>
          </p:cNvSpPr>
          <p:nvPr>
            <p:ph type="sldNum" sz="quarter" idx="10"/>
          </p:nvPr>
        </p:nvSpPr>
        <p:spPr/>
        <p:txBody>
          <a:bodyPr/>
          <a:lstStyle>
            <a:lvl1pPr>
              <a:defRPr/>
            </a:lvl1pPr>
          </a:lstStyle>
          <a:p>
            <a:pPr>
              <a:defRPr/>
            </a:pPr>
            <a:fld id="{4883810D-B63C-4038-973C-BA1AF715700C}" type="slidenum">
              <a:rPr lang="da-DK"/>
              <a:pPr>
                <a:defRPr/>
              </a:pPr>
              <a:t>‹#›</a:t>
            </a:fld>
            <a:endParaRPr lang="da-DK"/>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2750" y="292100"/>
            <a:ext cx="2057400" cy="5945188"/>
          </a:xfrm>
        </p:spPr>
        <p:txBody>
          <a:bodyPr vert="eaVert"/>
          <a:lstStyle/>
          <a:p>
            <a:r>
              <a:rPr lang="en-US" smtClean="0"/>
              <a:t>Click to edit Master title style</a:t>
            </a:r>
            <a:endParaRPr lang="da-DK"/>
          </a:p>
        </p:txBody>
      </p:sp>
      <p:sp>
        <p:nvSpPr>
          <p:cNvPr id="3" name="Vertical Text Placeholder 2"/>
          <p:cNvSpPr>
            <a:spLocks noGrp="1"/>
          </p:cNvSpPr>
          <p:nvPr>
            <p:ph type="body" orient="vert" idx="1"/>
          </p:nvPr>
        </p:nvSpPr>
        <p:spPr>
          <a:xfrm>
            <a:off x="588963" y="292100"/>
            <a:ext cx="6021387" cy="59451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Slide Number Placeholder 3"/>
          <p:cNvSpPr>
            <a:spLocks noGrp="1"/>
          </p:cNvSpPr>
          <p:nvPr>
            <p:ph type="sldNum" sz="quarter" idx="10"/>
          </p:nvPr>
        </p:nvSpPr>
        <p:spPr/>
        <p:txBody>
          <a:bodyPr/>
          <a:lstStyle>
            <a:lvl1pPr>
              <a:defRPr/>
            </a:lvl1pPr>
          </a:lstStyle>
          <a:p>
            <a:pPr>
              <a:defRPr/>
            </a:pPr>
            <a:fld id="{957C5F0F-4E31-48E8-8942-802E1FC18F81}" type="slidenum">
              <a:rPr lang="da-DK"/>
              <a:pPr>
                <a:defRPr/>
              </a:pPr>
              <a:t>‹#›</a:t>
            </a:fld>
            <a:endParaRPr lang="da-DK"/>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noProof="0" smtClean="0"/>
              <a:t>Klik for at redigere titeltypografi i masteren</a:t>
            </a:r>
            <a:endParaRPr lang="da-DK" dirty="0"/>
          </a:p>
        </p:txBody>
      </p:sp>
      <p:sp>
        <p:nvSpPr>
          <p:cNvPr id="3" name="Pladsholder til indhold 2"/>
          <p:cNvSpPr>
            <a:spLocks noGrp="1"/>
          </p:cNvSpPr>
          <p:nvPr>
            <p:ph sz="half" idx="1"/>
          </p:nvPr>
        </p:nvSpPr>
        <p:spPr>
          <a:xfrm>
            <a:off x="457200" y="1484314"/>
            <a:ext cx="4038600" cy="4641850"/>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en-US" noProof="0" dirty="0"/>
          </a:p>
        </p:txBody>
      </p:sp>
      <p:sp>
        <p:nvSpPr>
          <p:cNvPr id="4" name="Pladsholder til indhold 3"/>
          <p:cNvSpPr>
            <a:spLocks noGrp="1"/>
          </p:cNvSpPr>
          <p:nvPr>
            <p:ph sz="half" idx="2"/>
          </p:nvPr>
        </p:nvSpPr>
        <p:spPr>
          <a:xfrm>
            <a:off x="4648200" y="1484314"/>
            <a:ext cx="4038600" cy="4641850"/>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en-US" noProof="0" dirty="0"/>
          </a:p>
        </p:txBody>
      </p:sp>
      <p:sp>
        <p:nvSpPr>
          <p:cNvPr id="5" name="Pladsholder til sidefod 4"/>
          <p:cNvSpPr>
            <a:spLocks noGrp="1"/>
          </p:cNvSpPr>
          <p:nvPr>
            <p:ph type="ftr" sz="quarter" idx="10"/>
          </p:nvPr>
        </p:nvSpPr>
        <p:spPr/>
        <p:txBody>
          <a:bodyPr/>
          <a:lstStyle>
            <a:lvl1pPr>
              <a:defRPr/>
            </a:lvl1pPr>
          </a:lstStyle>
          <a:p>
            <a:pPr>
              <a:defRPr/>
            </a:pPr>
            <a:endParaRPr lang="da-DK"/>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noProof="0" smtClean="0"/>
              <a:t>Klik for at redigere titeltypografi i masteren</a:t>
            </a:r>
            <a:endParaRPr lang="da-DK" dirty="0"/>
          </a:p>
        </p:txBody>
      </p:sp>
      <p:sp>
        <p:nvSpPr>
          <p:cNvPr id="3" name="Pladsholder til tekst 2"/>
          <p:cNvSpPr>
            <a:spLocks noGrp="1"/>
          </p:cNvSpPr>
          <p:nvPr>
            <p:ph type="body" idx="1"/>
          </p:nvPr>
        </p:nvSpPr>
        <p:spPr>
          <a:xfrm>
            <a:off x="457200" y="1484313"/>
            <a:ext cx="4040188" cy="63976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noProof="0" smtClean="0"/>
              <a:t>Klik for at redigere typografi i masteren</a:t>
            </a:r>
          </a:p>
        </p:txBody>
      </p:sp>
      <p:sp>
        <p:nvSpPr>
          <p:cNvPr id="4" name="Pladsholder til indhold 3"/>
          <p:cNvSpPr>
            <a:spLocks noGrp="1"/>
          </p:cNvSpPr>
          <p:nvPr>
            <p:ph sz="half" idx="2"/>
          </p:nvPr>
        </p:nvSpPr>
        <p:spPr>
          <a:xfrm>
            <a:off x="457200" y="2174875"/>
            <a:ext cx="4040188" cy="3951288"/>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en-US" noProof="0" dirty="0"/>
          </a:p>
        </p:txBody>
      </p:sp>
      <p:sp>
        <p:nvSpPr>
          <p:cNvPr id="5" name="Pladsholder til tekst 4"/>
          <p:cNvSpPr>
            <a:spLocks noGrp="1"/>
          </p:cNvSpPr>
          <p:nvPr>
            <p:ph type="body" sz="quarter" idx="3"/>
          </p:nvPr>
        </p:nvSpPr>
        <p:spPr>
          <a:xfrm>
            <a:off x="4645025" y="1484313"/>
            <a:ext cx="4041775" cy="63976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noProof="0" smtClean="0"/>
              <a:t>Klik for at redigere typografi i masteren</a:t>
            </a:r>
          </a:p>
        </p:txBody>
      </p:sp>
      <p:sp>
        <p:nvSpPr>
          <p:cNvPr id="6" name="Pladsholder til indhold 5"/>
          <p:cNvSpPr>
            <a:spLocks noGrp="1"/>
          </p:cNvSpPr>
          <p:nvPr>
            <p:ph sz="quarter" idx="4"/>
          </p:nvPr>
        </p:nvSpPr>
        <p:spPr>
          <a:xfrm>
            <a:off x="4645025" y="2174875"/>
            <a:ext cx="4041775" cy="3951288"/>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en-US" noProof="0" dirty="0"/>
          </a:p>
        </p:txBody>
      </p:sp>
      <p:sp>
        <p:nvSpPr>
          <p:cNvPr id="7" name="Pladsholder til sidefod 4"/>
          <p:cNvSpPr>
            <a:spLocks noGrp="1"/>
          </p:cNvSpPr>
          <p:nvPr>
            <p:ph type="ftr" sz="quarter" idx="10"/>
          </p:nvPr>
        </p:nvSpPr>
        <p:spPr/>
        <p:txBody>
          <a:bodyPr/>
          <a:lstStyle>
            <a:lvl1pPr>
              <a:defRPr/>
            </a:lvl1pPr>
          </a:lstStyle>
          <a:p>
            <a:pPr>
              <a:defRPr/>
            </a:pPr>
            <a:endParaRPr lang="da-DK"/>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noProof="0" smtClean="0"/>
              <a:t>Klik for at redigere titeltypografi i masteren</a:t>
            </a:r>
            <a:endParaRPr lang="da-DK" dirty="0"/>
          </a:p>
        </p:txBody>
      </p:sp>
      <p:sp>
        <p:nvSpPr>
          <p:cNvPr id="3" name="Pladsholder til sidefod 4"/>
          <p:cNvSpPr>
            <a:spLocks noGrp="1"/>
          </p:cNvSpPr>
          <p:nvPr>
            <p:ph type="ftr" sz="quarter" idx="10"/>
          </p:nvPr>
        </p:nvSpPr>
        <p:spPr/>
        <p:txBody>
          <a:bodyPr/>
          <a:lstStyle>
            <a:lvl1pPr>
              <a:defRPr/>
            </a:lvl1pPr>
          </a:lstStyle>
          <a:p>
            <a:pPr>
              <a:defRPr/>
            </a:pPr>
            <a:endParaRPr lang="da-DK"/>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6" name="Picture 5" descr="DAMCO_PowerPoint_Template_Front_01.jpg"/>
          <p:cNvPicPr>
            <a:picLocks noChangeAspect="1"/>
          </p:cNvPicPr>
          <p:nvPr userDrawn="1"/>
        </p:nvPicPr>
        <p:blipFill>
          <a:blip r:embed="rId2" cstate="print"/>
          <a:stretch>
            <a:fillRect/>
          </a:stretch>
        </p:blipFill>
        <p:spPr>
          <a:xfrm>
            <a:off x="22901" y="-6942"/>
            <a:ext cx="9132069" cy="6871882"/>
          </a:xfrm>
          <a:prstGeom prst="rect">
            <a:avLst/>
          </a:prstGeom>
        </p:spPr>
      </p:pic>
      <p:sp>
        <p:nvSpPr>
          <p:cNvPr id="7" name="Title 6"/>
          <p:cNvSpPr>
            <a:spLocks noGrp="1"/>
          </p:cNvSpPr>
          <p:nvPr>
            <p:ph type="title" hasCustomPrompt="1"/>
          </p:nvPr>
        </p:nvSpPr>
        <p:spPr>
          <a:xfrm>
            <a:off x="466531" y="1412776"/>
            <a:ext cx="8229600" cy="863282"/>
          </a:xfrm>
        </p:spPr>
        <p:txBody>
          <a:bodyPr>
            <a:noAutofit/>
          </a:bodyPr>
          <a:lstStyle>
            <a:lvl1pPr>
              <a:defRPr>
                <a:solidFill>
                  <a:schemeClr val="tx2">
                    <a:lumMod val="75000"/>
                    <a:lumOff val="25000"/>
                  </a:schemeClr>
                </a:solidFill>
              </a:defRPr>
            </a:lvl1pPr>
          </a:lstStyle>
          <a:p>
            <a:r>
              <a:rPr lang="en-GB" noProof="0" smtClean="0"/>
              <a:t>Click to edit Presentation title style</a:t>
            </a:r>
            <a:endParaRPr lang="en-GB" noProof="0"/>
          </a:p>
        </p:txBody>
      </p:sp>
      <p:sp>
        <p:nvSpPr>
          <p:cNvPr id="10" name="Text Placeholder 9"/>
          <p:cNvSpPr>
            <a:spLocks noGrp="1"/>
          </p:cNvSpPr>
          <p:nvPr>
            <p:ph type="body" sz="quarter" idx="12" hasCustomPrompt="1"/>
          </p:nvPr>
        </p:nvSpPr>
        <p:spPr>
          <a:xfrm>
            <a:off x="466531" y="2276475"/>
            <a:ext cx="8229600" cy="822325"/>
          </a:xfrm>
        </p:spPr>
        <p:txBody>
          <a:bodyPr>
            <a:noAutofit/>
          </a:bodyPr>
          <a:lstStyle>
            <a:lvl1pPr>
              <a:defRPr/>
            </a:lvl1pPr>
          </a:lstStyle>
          <a:p>
            <a:pPr lvl="0"/>
            <a:r>
              <a:rPr lang="en-GB" noProof="0" smtClean="0"/>
              <a:t>Click to edit Master subtitle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15" name="Content Placeholder 14"/>
          <p:cNvSpPr>
            <a:spLocks noGrp="1" noChangeAspect="1"/>
          </p:cNvSpPr>
          <p:nvPr>
            <p:ph sz="quarter" idx="10"/>
          </p:nvPr>
        </p:nvSpPr>
        <p:spPr>
          <a:xfrm>
            <a:off x="464943" y="1407159"/>
            <a:ext cx="8218800" cy="4939200"/>
          </a:xfrm>
        </p:spPr>
        <p:txBody>
          <a:bodyPr/>
          <a:lstStyle>
            <a:lvl1pPr>
              <a:spcAft>
                <a:spcPts val="720"/>
              </a:spcAft>
              <a:defRPr sz="2000"/>
            </a:lvl1pPr>
            <a:lvl2pPr>
              <a:spcBef>
                <a:spcPts val="500"/>
              </a:spcBef>
              <a:defRPr/>
            </a:lvl2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10" name="Date Placeholder 9"/>
          <p:cNvSpPr>
            <a:spLocks noGrp="1"/>
          </p:cNvSpPr>
          <p:nvPr>
            <p:ph type="dt" sz="half" idx="11"/>
          </p:nvPr>
        </p:nvSpPr>
        <p:spPr/>
        <p:txBody>
          <a:bodyPr/>
          <a:lstStyle/>
          <a:p>
            <a:fld id="{1433E6A1-DBA7-42BF-AA9E-EDD4870D6591}" type="datetime1">
              <a:rPr lang="es-CR" smtClean="0">
                <a:solidFill>
                  <a:srgbClr val="231F20">
                    <a:tint val="75000"/>
                  </a:srgbClr>
                </a:solidFill>
              </a:rPr>
              <a:pPr/>
              <a:t>29/07/2011</a:t>
            </a:fld>
            <a:endParaRPr lang="en-US" dirty="0">
              <a:solidFill>
                <a:srgbClr val="231F20">
                  <a:tint val="75000"/>
                </a:srgbClr>
              </a:solidFill>
            </a:endParaRPr>
          </a:p>
        </p:txBody>
      </p:sp>
      <p:sp>
        <p:nvSpPr>
          <p:cNvPr id="11" name="Slide Number Placeholder 10"/>
          <p:cNvSpPr>
            <a:spLocks noGrp="1"/>
          </p:cNvSpPr>
          <p:nvPr>
            <p:ph type="sldNum" sz="quarter" idx="12"/>
          </p:nvPr>
        </p:nvSpPr>
        <p:spPr/>
        <p:txBody>
          <a:bodyPr/>
          <a:lstStyle/>
          <a:p>
            <a:fld id="{E95D9087-60FE-ED43-B7E4-1DE39A33D433}" type="slidenum">
              <a:rPr lang="en-US" smtClean="0">
                <a:solidFill>
                  <a:srgbClr val="231F20">
                    <a:tint val="75000"/>
                  </a:srgbClr>
                </a:solidFill>
              </a:rPr>
              <a:pPr/>
              <a:t>‹#›</a:t>
            </a:fld>
            <a:endParaRPr lang="en-US" dirty="0">
              <a:solidFill>
                <a:srgbClr val="231F20">
                  <a:tint val="75000"/>
                </a:srgbClr>
              </a:solidFill>
            </a:endParaRPr>
          </a:p>
        </p:txBody>
      </p:sp>
      <p:sp>
        <p:nvSpPr>
          <p:cNvPr id="12" name="Footer Placeholder 11"/>
          <p:cNvSpPr>
            <a:spLocks noGrp="1"/>
          </p:cNvSpPr>
          <p:nvPr>
            <p:ph type="ftr" sz="quarter" idx="13"/>
          </p:nvPr>
        </p:nvSpPr>
        <p:spPr/>
        <p:txBody>
          <a:bodyPr/>
          <a:lstStyle/>
          <a:p>
            <a:endParaRPr lang="en-US" dirty="0">
              <a:solidFill>
                <a:srgbClr val="231F20">
                  <a:tint val="75000"/>
                </a:srgbClr>
              </a:solidFill>
            </a:endParaRPr>
          </a:p>
        </p:txBody>
      </p:sp>
    </p:spTree>
    <p:extLst>
      <p:ext uri="{BB962C8B-B14F-4D97-AF65-F5344CB8AC3E}">
        <p14:creationId xmlns:p14="http://schemas.microsoft.com/office/powerpoint/2010/main" xmlns="" val="11243510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14" name="Content Placeholder 13"/>
          <p:cNvSpPr>
            <a:spLocks noGrp="1"/>
          </p:cNvSpPr>
          <p:nvPr>
            <p:ph sz="quarter" idx="11" hasCustomPrompt="1"/>
          </p:nvPr>
        </p:nvSpPr>
        <p:spPr>
          <a:xfrm>
            <a:off x="466531" y="1408674"/>
            <a:ext cx="4023360" cy="4936686"/>
          </a:xfrm>
        </p:spPr>
        <p:txBody>
          <a:bodyPr/>
          <a:lstStyle>
            <a:lvl1pPr>
              <a:spcAft>
                <a:spcPts val="710"/>
              </a:spcAft>
              <a:defRPr/>
            </a:lvl1pPr>
            <a:lvl2pPr>
              <a:spcBef>
                <a:spcPts val="500"/>
              </a:spcBef>
              <a:defRPr/>
            </a:lvl2pPr>
          </a:lstStyle>
          <a:p>
            <a:pPr lvl="0"/>
            <a:r>
              <a:rPr lang="en-GB" noProof="0" smtClean="0"/>
              <a:t>Click to edit Title</a:t>
            </a:r>
          </a:p>
          <a:p>
            <a:pPr lvl="1"/>
            <a:r>
              <a:rPr lang="en-GB" noProof="0" smtClean="0"/>
              <a:t>First level</a:t>
            </a:r>
          </a:p>
          <a:p>
            <a:pPr lvl="2"/>
            <a:r>
              <a:rPr lang="en-GB" noProof="0" smtClean="0"/>
              <a:t>Second level</a:t>
            </a:r>
          </a:p>
          <a:p>
            <a:pPr lvl="3"/>
            <a:r>
              <a:rPr lang="en-GB" noProof="0" smtClean="0"/>
              <a:t>Third level</a:t>
            </a:r>
          </a:p>
          <a:p>
            <a:pPr lvl="4"/>
            <a:r>
              <a:rPr lang="en-GB" noProof="0" smtClean="0"/>
              <a:t>Fourth level</a:t>
            </a:r>
            <a:endParaRPr lang="en-GB" noProof="0"/>
          </a:p>
        </p:txBody>
      </p:sp>
      <p:sp>
        <p:nvSpPr>
          <p:cNvPr id="15" name="Content Placeholder 13"/>
          <p:cNvSpPr>
            <a:spLocks noGrp="1"/>
          </p:cNvSpPr>
          <p:nvPr>
            <p:ph sz="quarter" idx="12" hasCustomPrompt="1"/>
          </p:nvPr>
        </p:nvSpPr>
        <p:spPr>
          <a:xfrm>
            <a:off x="4663499" y="1408674"/>
            <a:ext cx="4023360" cy="4936686"/>
          </a:xfrm>
        </p:spPr>
        <p:txBody>
          <a:bodyPr/>
          <a:lstStyle>
            <a:lvl1pPr>
              <a:spcAft>
                <a:spcPts val="710"/>
              </a:spcAft>
              <a:defRPr/>
            </a:lvl1pPr>
            <a:lvl2pPr>
              <a:spcBef>
                <a:spcPts val="500"/>
              </a:spcBef>
              <a:defRPr/>
            </a:lvl2pPr>
          </a:lstStyle>
          <a:p>
            <a:pPr lvl="0"/>
            <a:r>
              <a:rPr lang="en-GB" noProof="0" smtClean="0"/>
              <a:t>Click to edit Title</a:t>
            </a:r>
          </a:p>
          <a:p>
            <a:pPr lvl="1"/>
            <a:r>
              <a:rPr lang="en-GB" noProof="0" smtClean="0"/>
              <a:t>First level</a:t>
            </a:r>
          </a:p>
          <a:p>
            <a:pPr lvl="2"/>
            <a:r>
              <a:rPr lang="en-GB" noProof="0" smtClean="0"/>
              <a:t>Second level</a:t>
            </a:r>
          </a:p>
          <a:p>
            <a:pPr lvl="3"/>
            <a:r>
              <a:rPr lang="en-GB" noProof="0" smtClean="0"/>
              <a:t>Third level</a:t>
            </a:r>
          </a:p>
          <a:p>
            <a:pPr lvl="4"/>
            <a:r>
              <a:rPr lang="en-GB" noProof="0" smtClean="0"/>
              <a:t>Fourth level</a:t>
            </a:r>
            <a:endParaRPr lang="en-GB" noProof="0"/>
          </a:p>
        </p:txBody>
      </p:sp>
      <p:sp>
        <p:nvSpPr>
          <p:cNvPr id="11" name="Date Placeholder 10"/>
          <p:cNvSpPr>
            <a:spLocks noGrp="1"/>
          </p:cNvSpPr>
          <p:nvPr>
            <p:ph type="dt" sz="half" idx="13"/>
          </p:nvPr>
        </p:nvSpPr>
        <p:spPr/>
        <p:txBody>
          <a:bodyPr/>
          <a:lstStyle/>
          <a:p>
            <a:fld id="{3B1EA87B-7001-434C-B616-B8C11964530A}" type="datetime1">
              <a:rPr lang="es-CR" smtClean="0">
                <a:solidFill>
                  <a:srgbClr val="231F20">
                    <a:tint val="75000"/>
                  </a:srgbClr>
                </a:solidFill>
              </a:rPr>
              <a:pPr/>
              <a:t>29/07/2011</a:t>
            </a:fld>
            <a:endParaRPr lang="en-US" dirty="0">
              <a:solidFill>
                <a:srgbClr val="231F20">
                  <a:tint val="75000"/>
                </a:srgbClr>
              </a:solidFill>
            </a:endParaRPr>
          </a:p>
        </p:txBody>
      </p:sp>
      <p:sp>
        <p:nvSpPr>
          <p:cNvPr id="12" name="Slide Number Placeholder 11"/>
          <p:cNvSpPr>
            <a:spLocks noGrp="1"/>
          </p:cNvSpPr>
          <p:nvPr>
            <p:ph type="sldNum" sz="quarter" idx="14"/>
          </p:nvPr>
        </p:nvSpPr>
        <p:spPr/>
        <p:txBody>
          <a:bodyPr/>
          <a:lstStyle/>
          <a:p>
            <a:fld id="{E95D9087-60FE-ED43-B7E4-1DE39A33D433}" type="slidenum">
              <a:rPr lang="en-US" smtClean="0">
                <a:solidFill>
                  <a:srgbClr val="231F20">
                    <a:tint val="75000"/>
                  </a:srgbClr>
                </a:solidFill>
              </a:rPr>
              <a:pPr/>
              <a:t>‹#›</a:t>
            </a:fld>
            <a:endParaRPr lang="en-US" dirty="0">
              <a:solidFill>
                <a:srgbClr val="231F20">
                  <a:tint val="75000"/>
                </a:srgbClr>
              </a:solidFill>
            </a:endParaRPr>
          </a:p>
        </p:txBody>
      </p:sp>
      <p:sp>
        <p:nvSpPr>
          <p:cNvPr id="13" name="Footer Placeholder 12"/>
          <p:cNvSpPr>
            <a:spLocks noGrp="1"/>
          </p:cNvSpPr>
          <p:nvPr>
            <p:ph type="ftr" sz="quarter" idx="15"/>
          </p:nvPr>
        </p:nvSpPr>
        <p:spPr/>
        <p:txBody>
          <a:bodyPr/>
          <a:lstStyle/>
          <a:p>
            <a:endParaRPr lang="en-US" dirty="0">
              <a:solidFill>
                <a:srgbClr val="231F20">
                  <a:tint val="75000"/>
                </a:srgbClr>
              </a:solidFill>
            </a:endParaRPr>
          </a:p>
        </p:txBody>
      </p:sp>
    </p:spTree>
    <p:extLst>
      <p:ext uri="{BB962C8B-B14F-4D97-AF65-F5344CB8AC3E}">
        <p14:creationId xmlns:p14="http://schemas.microsoft.com/office/powerpoint/2010/main" xmlns="" val="26833004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14" name="Content Placeholder 13"/>
          <p:cNvSpPr>
            <a:spLocks noGrp="1"/>
          </p:cNvSpPr>
          <p:nvPr>
            <p:ph sz="quarter" idx="11" hasCustomPrompt="1"/>
          </p:nvPr>
        </p:nvSpPr>
        <p:spPr>
          <a:xfrm>
            <a:off x="466531" y="1408674"/>
            <a:ext cx="4023360" cy="4936686"/>
          </a:xfrm>
        </p:spPr>
        <p:txBody>
          <a:bodyPr/>
          <a:lstStyle>
            <a:lvl1pPr>
              <a:spcAft>
                <a:spcPts val="710"/>
              </a:spcAft>
              <a:defRPr/>
            </a:lvl1pPr>
            <a:lvl2pPr>
              <a:spcBef>
                <a:spcPts val="500"/>
              </a:spcBef>
              <a:defRPr/>
            </a:lvl2pPr>
          </a:lstStyle>
          <a:p>
            <a:pPr lvl="0"/>
            <a:r>
              <a:rPr lang="en-GB" noProof="0" smtClean="0"/>
              <a:t>Click to edit Title</a:t>
            </a:r>
          </a:p>
          <a:p>
            <a:pPr lvl="1"/>
            <a:r>
              <a:rPr lang="en-GB" noProof="0" smtClean="0"/>
              <a:t>First level</a:t>
            </a:r>
          </a:p>
          <a:p>
            <a:pPr lvl="2"/>
            <a:r>
              <a:rPr lang="en-GB" noProof="0" smtClean="0"/>
              <a:t>Second level</a:t>
            </a:r>
          </a:p>
          <a:p>
            <a:pPr lvl="3"/>
            <a:r>
              <a:rPr lang="en-GB" noProof="0" smtClean="0"/>
              <a:t>Third level</a:t>
            </a:r>
          </a:p>
          <a:p>
            <a:pPr lvl="4"/>
            <a:r>
              <a:rPr lang="en-GB" noProof="0" smtClean="0"/>
              <a:t>Fourth level</a:t>
            </a:r>
            <a:endParaRPr lang="en-GB" noProof="0"/>
          </a:p>
        </p:txBody>
      </p:sp>
      <p:sp>
        <p:nvSpPr>
          <p:cNvPr id="11" name="Date Placeholder 10"/>
          <p:cNvSpPr>
            <a:spLocks noGrp="1"/>
          </p:cNvSpPr>
          <p:nvPr>
            <p:ph type="dt" sz="half" idx="13"/>
          </p:nvPr>
        </p:nvSpPr>
        <p:spPr/>
        <p:txBody>
          <a:bodyPr/>
          <a:lstStyle/>
          <a:p>
            <a:fld id="{A361E88E-D22F-4C99-9B39-782772FC527F}" type="datetime1">
              <a:rPr lang="es-CR" smtClean="0">
                <a:solidFill>
                  <a:srgbClr val="231F20">
                    <a:tint val="75000"/>
                  </a:srgbClr>
                </a:solidFill>
              </a:rPr>
              <a:pPr/>
              <a:t>29/07/2011</a:t>
            </a:fld>
            <a:endParaRPr lang="en-US" dirty="0">
              <a:solidFill>
                <a:srgbClr val="231F20">
                  <a:tint val="75000"/>
                </a:srgbClr>
              </a:solidFill>
            </a:endParaRPr>
          </a:p>
        </p:txBody>
      </p:sp>
      <p:sp>
        <p:nvSpPr>
          <p:cNvPr id="12" name="Slide Number Placeholder 11"/>
          <p:cNvSpPr>
            <a:spLocks noGrp="1"/>
          </p:cNvSpPr>
          <p:nvPr>
            <p:ph type="sldNum" sz="quarter" idx="14"/>
          </p:nvPr>
        </p:nvSpPr>
        <p:spPr/>
        <p:txBody>
          <a:bodyPr/>
          <a:lstStyle/>
          <a:p>
            <a:fld id="{E95D9087-60FE-ED43-B7E4-1DE39A33D433}" type="slidenum">
              <a:rPr lang="en-US" smtClean="0">
                <a:solidFill>
                  <a:srgbClr val="231F20">
                    <a:tint val="75000"/>
                  </a:srgbClr>
                </a:solidFill>
              </a:rPr>
              <a:pPr/>
              <a:t>‹#›</a:t>
            </a:fld>
            <a:endParaRPr lang="en-US" dirty="0">
              <a:solidFill>
                <a:srgbClr val="231F20">
                  <a:tint val="75000"/>
                </a:srgbClr>
              </a:solidFill>
            </a:endParaRPr>
          </a:p>
        </p:txBody>
      </p:sp>
      <p:sp>
        <p:nvSpPr>
          <p:cNvPr id="13" name="Footer Placeholder 12"/>
          <p:cNvSpPr>
            <a:spLocks noGrp="1"/>
          </p:cNvSpPr>
          <p:nvPr>
            <p:ph type="ftr" sz="quarter" idx="15"/>
          </p:nvPr>
        </p:nvSpPr>
        <p:spPr/>
        <p:txBody>
          <a:bodyPr/>
          <a:lstStyle/>
          <a:p>
            <a:endParaRPr lang="en-US" dirty="0">
              <a:solidFill>
                <a:srgbClr val="231F20">
                  <a:tint val="75000"/>
                </a:srgbClr>
              </a:solidFill>
            </a:endParaRPr>
          </a:p>
        </p:txBody>
      </p:sp>
    </p:spTree>
    <p:extLst>
      <p:ext uri="{BB962C8B-B14F-4D97-AF65-F5344CB8AC3E}">
        <p14:creationId xmlns:p14="http://schemas.microsoft.com/office/powerpoint/2010/main" xmlns="" val="268330042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4.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6.tif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5.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13.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17" Type="http://schemas.openxmlformats.org/officeDocument/2006/relationships/image" Target="../media/image16.jpeg"/><Relationship Id="rId2" Type="http://schemas.openxmlformats.org/officeDocument/2006/relationships/slideLayout" Target="../slideLayouts/slideLayout18.xml"/><Relationship Id="rId16" Type="http://schemas.openxmlformats.org/officeDocument/2006/relationships/hyperlink" Target="http://images.google.dk/imgres?imgurl=http://metropress.com.ua/i_upload/image/logo_metro_rgb.jpg&amp;imgrefurl=http://metropress.com.ua/en/mcci.html&amp;usg=__U2xfNZSXLxG98zVYYqxeP6xvfZY=&amp;h=417&amp;w=838&amp;sz=52&amp;hl=da&amp;start=1&amp;um=1&amp;itbs=1&amp;tbnid=Css1dFDPKxtFaM:&amp;tbnh=72&amp;tbnw=144&amp;prev=/images?q=metro+cash&amp;carry+logo&amp;um=1&amp;hl=da&amp;safe=active&amp;rlz=1T4SKPB_enDK334DK334&amp;tbs=isch:1" TargetMode="Externa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5.png"/><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Pladsholder til titel 1"/>
          <p:cNvSpPr>
            <a:spLocks noGrp="1"/>
          </p:cNvSpPr>
          <p:nvPr>
            <p:ph type="title"/>
          </p:nvPr>
        </p:nvSpPr>
        <p:spPr bwMode="auto">
          <a:xfrm>
            <a:off x="457200" y="274638"/>
            <a:ext cx="8229600" cy="9937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title text</a:t>
            </a:r>
            <a:endParaRPr lang="da-DK" smtClean="0"/>
          </a:p>
        </p:txBody>
      </p:sp>
      <p:sp>
        <p:nvSpPr>
          <p:cNvPr id="1027" name="Pladsholder til tekst 2"/>
          <p:cNvSpPr>
            <a:spLocks noGrp="1"/>
          </p:cNvSpPr>
          <p:nvPr>
            <p:ph type="body" idx="1"/>
          </p:nvPr>
        </p:nvSpPr>
        <p:spPr bwMode="auto">
          <a:xfrm>
            <a:off x="457200" y="1484313"/>
            <a:ext cx="8229600" cy="46418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Pladsholder til sidefod 4"/>
          <p:cNvSpPr>
            <a:spLocks noGrp="1"/>
          </p:cNvSpPr>
          <p:nvPr>
            <p:ph type="ftr" sz="quarter" idx="3"/>
          </p:nvPr>
        </p:nvSpPr>
        <p:spPr>
          <a:xfrm>
            <a:off x="1835150" y="6381750"/>
            <a:ext cx="4968875" cy="222250"/>
          </a:xfrm>
          <a:prstGeom prst="rect">
            <a:avLst/>
          </a:prstGeom>
        </p:spPr>
        <p:txBody>
          <a:bodyPr vert="horz" lIns="91440" tIns="45720" rIns="91440" bIns="45720" rtlCol="0" anchor="ctr"/>
          <a:lstStyle>
            <a:lvl1pPr algn="l" fontAlgn="auto">
              <a:spcBef>
                <a:spcPts val="0"/>
              </a:spcBef>
              <a:spcAft>
                <a:spcPts val="0"/>
              </a:spcAft>
              <a:defRPr sz="800">
                <a:solidFill>
                  <a:schemeClr val="tx1">
                    <a:lumMod val="65000"/>
                    <a:lumOff val="35000"/>
                  </a:schemeClr>
                </a:solidFill>
                <a:latin typeface="+mn-lt"/>
                <a:ea typeface="+mn-ea"/>
                <a:cs typeface="+mn-cs"/>
              </a:defRPr>
            </a:lvl1pPr>
          </a:lstStyle>
          <a:p>
            <a:pPr>
              <a:defRPr/>
            </a:pPr>
            <a:endParaRPr lang="da-DK"/>
          </a:p>
        </p:txBody>
      </p:sp>
      <p:sp>
        <p:nvSpPr>
          <p:cNvPr id="7" name="Rektangel 6"/>
          <p:cNvSpPr/>
          <p:nvPr/>
        </p:nvSpPr>
        <p:spPr>
          <a:xfrm rot="16200000">
            <a:off x="4554538" y="-2817812"/>
            <a:ext cx="34925" cy="8207375"/>
          </a:xfrm>
          <a:prstGeom prst="rect">
            <a:avLst/>
          </a:prstGeom>
          <a:gradFill>
            <a:gsLst>
              <a:gs pos="0">
                <a:schemeClr val="accent1"/>
              </a:gs>
              <a:gs pos="33000">
                <a:schemeClr val="accent2"/>
              </a:gs>
              <a:gs pos="50000">
                <a:schemeClr val="accent3"/>
              </a:gs>
              <a:gs pos="66000">
                <a:schemeClr val="accent4"/>
              </a:gs>
              <a:gs pos="10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a:p>
        </p:txBody>
      </p:sp>
      <p:pic>
        <p:nvPicPr>
          <p:cNvPr id="1030" name="Picture 2" descr="C:\Users\JBF\Desktop\DAMCO.png"/>
          <p:cNvPicPr>
            <a:picLocks noChangeAspect="1" noChangeArrowheads="1"/>
          </p:cNvPicPr>
          <p:nvPr/>
        </p:nvPicPr>
        <p:blipFill>
          <a:blip r:embed="rId7" cstate="print"/>
          <a:srcRect/>
          <a:stretch>
            <a:fillRect/>
          </a:stretch>
        </p:blipFill>
        <p:spPr bwMode="auto">
          <a:xfrm>
            <a:off x="7956550" y="6357938"/>
            <a:ext cx="736600" cy="204787"/>
          </a:xfrm>
          <a:prstGeom prst="rect">
            <a:avLst/>
          </a:prstGeom>
          <a:noFill/>
          <a:ln w="9525">
            <a:noFill/>
            <a:miter lim="800000"/>
            <a:headEnd/>
            <a:tailEnd/>
          </a:ln>
        </p:spPr>
      </p:pic>
      <p:sp>
        <p:nvSpPr>
          <p:cNvPr id="9" name="Tekstboks 8"/>
          <p:cNvSpPr txBox="1"/>
          <p:nvPr/>
        </p:nvSpPr>
        <p:spPr>
          <a:xfrm>
            <a:off x="468313" y="6381750"/>
            <a:ext cx="431800" cy="214313"/>
          </a:xfrm>
          <a:prstGeom prst="rect">
            <a:avLst/>
          </a:prstGeom>
          <a:noFill/>
        </p:spPr>
        <p:txBody>
          <a:bodyPr>
            <a:spAutoFit/>
          </a:bodyPr>
          <a:lstStyle/>
          <a:p>
            <a:fld id="{3EEE52DF-4B47-4325-B72B-0900CABE724E}" type="slidenum">
              <a:rPr lang="da-DK" sz="800">
                <a:solidFill>
                  <a:srgbClr val="595959"/>
                </a:solidFill>
                <a:latin typeface="Verdana" pitchFamily="34" charset="0"/>
              </a:rPr>
              <a:pPr/>
              <a:t>‹#›</a:t>
            </a:fld>
            <a:endParaRPr lang="da-DK" sz="800">
              <a:solidFill>
                <a:srgbClr val="595959"/>
              </a:solidFill>
              <a:latin typeface="Verdana" pitchFamily="34" charset="0"/>
            </a:endParaRPr>
          </a:p>
        </p:txBody>
      </p:sp>
      <p:sp>
        <p:nvSpPr>
          <p:cNvPr id="10" name="Tekstboks 9"/>
          <p:cNvSpPr txBox="1"/>
          <p:nvPr/>
        </p:nvSpPr>
        <p:spPr>
          <a:xfrm>
            <a:off x="755650" y="6381750"/>
            <a:ext cx="1223963" cy="214313"/>
          </a:xfrm>
          <a:prstGeom prst="rect">
            <a:avLst/>
          </a:prstGeom>
          <a:noFill/>
        </p:spPr>
        <p:txBody>
          <a:bodyPr>
            <a:spAutoFit/>
          </a:bodyPr>
          <a:lstStyle/>
          <a:p>
            <a:fld id="{91FEF511-9AF4-4FCF-B40D-1A9377E9C80C}" type="datetime4">
              <a:rPr lang="en-US" sz="800">
                <a:solidFill>
                  <a:srgbClr val="595959"/>
                </a:solidFill>
                <a:latin typeface="Verdana" pitchFamily="34" charset="0"/>
              </a:rPr>
              <a:pPr/>
              <a:t>July 29, 2011</a:t>
            </a:fld>
            <a:endParaRPr lang="da-DK" sz="800">
              <a:solidFill>
                <a:srgbClr val="595959"/>
              </a:solidFill>
              <a:latin typeface="Verdana" pitchFamily="34" charset="0"/>
            </a:endParaRPr>
          </a:p>
        </p:txBody>
      </p:sp>
    </p:spTree>
  </p:cSld>
  <p:clrMap bg1="lt1" tx1="dk1" bg2="lt2" tx2="dk2" accent1="accent1" accent2="accent2" accent3="accent3" accent4="accent4" accent5="accent5" accent6="accent6" hlink="hlink" folHlink="folHlink"/>
  <p:sldLayoutIdLst>
    <p:sldLayoutId id="2147483769" r:id="rId1"/>
    <p:sldLayoutId id="2147483768" r:id="rId2"/>
    <p:sldLayoutId id="2147483767" r:id="rId3"/>
    <p:sldLayoutId id="2147483766" r:id="rId4"/>
    <p:sldLayoutId id="2147483765" r:id="rId5"/>
  </p:sldLayoutIdLst>
  <p:timing>
    <p:tnLst>
      <p:par>
        <p:cTn id="1" dur="indefinite" restart="never" nodeType="tmRoot"/>
      </p:par>
    </p:tnLst>
  </p:timing>
  <p:hf sldNum="0" hdr="0" ftr="0"/>
  <p:txStyles>
    <p:titleStyle>
      <a:lvl1pPr algn="l" rtl="0" eaLnBrk="0" fontAlgn="base" hangingPunct="0">
        <a:spcBef>
          <a:spcPct val="0"/>
        </a:spcBef>
        <a:spcAft>
          <a:spcPct val="0"/>
        </a:spcAft>
        <a:defRPr sz="2800" kern="1200">
          <a:solidFill>
            <a:srgbClr val="00215B"/>
          </a:solidFill>
          <a:latin typeface="+mj-lt"/>
          <a:ea typeface="ＭＳ Ｐゴシック" pitchFamily="-110" charset="-128"/>
          <a:cs typeface="ＭＳ Ｐゴシック" pitchFamily="-110" charset="-128"/>
        </a:defRPr>
      </a:lvl1pPr>
      <a:lvl2pPr algn="l" rtl="0" eaLnBrk="0" fontAlgn="base" hangingPunct="0">
        <a:spcBef>
          <a:spcPct val="0"/>
        </a:spcBef>
        <a:spcAft>
          <a:spcPct val="0"/>
        </a:spcAft>
        <a:defRPr sz="2800">
          <a:solidFill>
            <a:srgbClr val="00215B"/>
          </a:solidFill>
          <a:latin typeface="Verdana" pitchFamily="34" charset="0"/>
          <a:ea typeface="ＭＳ Ｐゴシック" pitchFamily="-110" charset="-128"/>
          <a:cs typeface="ＭＳ Ｐゴシック" pitchFamily="-110" charset="-128"/>
        </a:defRPr>
      </a:lvl2pPr>
      <a:lvl3pPr algn="l" rtl="0" eaLnBrk="0" fontAlgn="base" hangingPunct="0">
        <a:spcBef>
          <a:spcPct val="0"/>
        </a:spcBef>
        <a:spcAft>
          <a:spcPct val="0"/>
        </a:spcAft>
        <a:defRPr sz="2800">
          <a:solidFill>
            <a:srgbClr val="00215B"/>
          </a:solidFill>
          <a:latin typeface="Verdana" pitchFamily="34" charset="0"/>
          <a:ea typeface="ＭＳ Ｐゴシック" pitchFamily="-110" charset="-128"/>
          <a:cs typeface="ＭＳ Ｐゴシック" pitchFamily="-110" charset="-128"/>
        </a:defRPr>
      </a:lvl3pPr>
      <a:lvl4pPr algn="l" rtl="0" eaLnBrk="0" fontAlgn="base" hangingPunct="0">
        <a:spcBef>
          <a:spcPct val="0"/>
        </a:spcBef>
        <a:spcAft>
          <a:spcPct val="0"/>
        </a:spcAft>
        <a:defRPr sz="2800">
          <a:solidFill>
            <a:srgbClr val="00215B"/>
          </a:solidFill>
          <a:latin typeface="Verdana" pitchFamily="34" charset="0"/>
          <a:ea typeface="ＭＳ Ｐゴシック" pitchFamily="-110" charset="-128"/>
          <a:cs typeface="ＭＳ Ｐゴシック" pitchFamily="-110" charset="-128"/>
        </a:defRPr>
      </a:lvl4pPr>
      <a:lvl5pPr algn="l" rtl="0" eaLnBrk="0" fontAlgn="base" hangingPunct="0">
        <a:spcBef>
          <a:spcPct val="0"/>
        </a:spcBef>
        <a:spcAft>
          <a:spcPct val="0"/>
        </a:spcAft>
        <a:defRPr sz="2800">
          <a:solidFill>
            <a:srgbClr val="00215B"/>
          </a:solidFill>
          <a:latin typeface="Verdana" pitchFamily="34" charset="0"/>
          <a:ea typeface="ＭＳ Ｐゴシック" pitchFamily="-110" charset="-128"/>
          <a:cs typeface="ＭＳ Ｐゴシック" pitchFamily="-110" charset="-128"/>
        </a:defRPr>
      </a:lvl5pPr>
      <a:lvl6pPr marL="457200" algn="l" rtl="0" fontAlgn="base">
        <a:spcBef>
          <a:spcPct val="0"/>
        </a:spcBef>
        <a:spcAft>
          <a:spcPct val="0"/>
        </a:spcAft>
        <a:defRPr sz="2600" b="1">
          <a:solidFill>
            <a:schemeClr val="accent2"/>
          </a:solidFill>
          <a:latin typeface="Arial" charset="0"/>
        </a:defRPr>
      </a:lvl6pPr>
      <a:lvl7pPr marL="914400" algn="l" rtl="0" fontAlgn="base">
        <a:spcBef>
          <a:spcPct val="0"/>
        </a:spcBef>
        <a:spcAft>
          <a:spcPct val="0"/>
        </a:spcAft>
        <a:defRPr sz="2600" b="1">
          <a:solidFill>
            <a:schemeClr val="accent2"/>
          </a:solidFill>
          <a:latin typeface="Arial" charset="0"/>
        </a:defRPr>
      </a:lvl7pPr>
      <a:lvl8pPr marL="1371600" algn="l" rtl="0" fontAlgn="base">
        <a:spcBef>
          <a:spcPct val="0"/>
        </a:spcBef>
        <a:spcAft>
          <a:spcPct val="0"/>
        </a:spcAft>
        <a:defRPr sz="2600" b="1">
          <a:solidFill>
            <a:schemeClr val="accent2"/>
          </a:solidFill>
          <a:latin typeface="Arial" charset="0"/>
        </a:defRPr>
      </a:lvl8pPr>
      <a:lvl9pPr marL="1828800" algn="l" rtl="0" fontAlgn="base">
        <a:spcBef>
          <a:spcPct val="0"/>
        </a:spcBef>
        <a:spcAft>
          <a:spcPct val="0"/>
        </a:spcAft>
        <a:defRPr sz="2600" b="1">
          <a:solidFill>
            <a:schemeClr val="accent2"/>
          </a:solidFill>
          <a:latin typeface="Arial" charset="0"/>
        </a:defRPr>
      </a:lvl9pPr>
    </p:titleStyle>
    <p:bodyStyle>
      <a:lvl1pPr marL="342900" indent="-342900" algn="l" rtl="0" eaLnBrk="0" fontAlgn="base" hangingPunct="0">
        <a:spcBef>
          <a:spcPts val="300"/>
        </a:spcBef>
        <a:spcAft>
          <a:spcPct val="0"/>
        </a:spcAft>
        <a:buFont typeface="Arial" charset="0"/>
        <a:buChar char="•"/>
        <a:defRPr kern="1200">
          <a:solidFill>
            <a:srgbClr val="595959"/>
          </a:solidFill>
          <a:latin typeface="+mn-lt"/>
          <a:ea typeface="ＭＳ Ｐゴシック" pitchFamily="-110" charset="-128"/>
          <a:cs typeface="ＭＳ Ｐゴシック" pitchFamily="-110" charset="-128"/>
        </a:defRPr>
      </a:lvl1pPr>
      <a:lvl2pPr marL="742950" indent="-285750" algn="l" rtl="0" eaLnBrk="0" fontAlgn="base" hangingPunct="0">
        <a:spcBef>
          <a:spcPts val="300"/>
        </a:spcBef>
        <a:spcAft>
          <a:spcPct val="0"/>
        </a:spcAft>
        <a:buFont typeface="Arial" charset="0"/>
        <a:buChar char="•"/>
        <a:defRPr sz="1600" kern="1200">
          <a:solidFill>
            <a:srgbClr val="595959"/>
          </a:solidFill>
          <a:latin typeface="+mn-lt"/>
          <a:ea typeface="ＭＳ Ｐゴシック" pitchFamily="-110" charset="-128"/>
          <a:cs typeface="+mn-cs"/>
        </a:defRPr>
      </a:lvl2pPr>
      <a:lvl3pPr marL="1143000" indent="-228600" algn="l" rtl="0" eaLnBrk="0" fontAlgn="base" hangingPunct="0">
        <a:spcBef>
          <a:spcPts val="300"/>
        </a:spcBef>
        <a:spcAft>
          <a:spcPct val="0"/>
        </a:spcAft>
        <a:buFont typeface="Arial" charset="0"/>
        <a:buChar char="•"/>
        <a:defRPr sz="1400" kern="1200">
          <a:solidFill>
            <a:srgbClr val="595959"/>
          </a:solidFill>
          <a:latin typeface="+mn-lt"/>
          <a:ea typeface="ＭＳ Ｐゴシック" pitchFamily="-110" charset="-128"/>
          <a:cs typeface="+mn-cs"/>
        </a:defRPr>
      </a:lvl3pPr>
      <a:lvl4pPr marL="1600200" indent="-228600" algn="l" rtl="0" eaLnBrk="0" fontAlgn="base" hangingPunct="0">
        <a:spcBef>
          <a:spcPts val="300"/>
        </a:spcBef>
        <a:spcAft>
          <a:spcPct val="0"/>
        </a:spcAft>
        <a:buFont typeface="Arial" charset="0"/>
        <a:buChar char="•"/>
        <a:defRPr sz="1200" kern="1200">
          <a:solidFill>
            <a:srgbClr val="595959"/>
          </a:solidFill>
          <a:latin typeface="+mn-lt"/>
          <a:ea typeface="ＭＳ Ｐゴシック" pitchFamily="-110" charset="-128"/>
          <a:cs typeface="+mn-cs"/>
        </a:defRPr>
      </a:lvl4pPr>
      <a:lvl5pPr marL="2057400" indent="-228600" algn="l" rtl="0" eaLnBrk="0" fontAlgn="base" hangingPunct="0">
        <a:spcBef>
          <a:spcPts val="300"/>
        </a:spcBef>
        <a:spcAft>
          <a:spcPct val="0"/>
        </a:spcAft>
        <a:buFont typeface="Arial" charset="0"/>
        <a:buChar char="•"/>
        <a:defRPr sz="1200" kern="1200">
          <a:solidFill>
            <a:srgbClr val="595959"/>
          </a:solidFill>
          <a:latin typeface="+mn-lt"/>
          <a:ea typeface="ＭＳ Ｐゴシック" pitchFamily="-11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6531" y="247743"/>
            <a:ext cx="8229600" cy="863282"/>
          </a:xfrm>
          <a:prstGeom prst="rect">
            <a:avLst/>
          </a:prstGeom>
        </p:spPr>
        <p:txBody>
          <a:bodyPr vert="horz" lIns="91440" tIns="45720" rIns="91440" bIns="45720" rtlCol="0" anchor="b" anchorCtr="0">
            <a:noAutofit/>
          </a:bodyPr>
          <a:lstStyle/>
          <a:p>
            <a:r>
              <a:rPr lang="en-US" noProof="0" smtClean="0"/>
              <a:t>Click to edit Master title style</a:t>
            </a:r>
            <a:endParaRPr lang="en-GB" noProof="0"/>
          </a:p>
        </p:txBody>
      </p:sp>
      <p:sp>
        <p:nvSpPr>
          <p:cNvPr id="3" name="Text Placeholder 2"/>
          <p:cNvSpPr>
            <a:spLocks noGrp="1"/>
          </p:cNvSpPr>
          <p:nvPr>
            <p:ph type="body" idx="1"/>
          </p:nvPr>
        </p:nvSpPr>
        <p:spPr>
          <a:xfrm>
            <a:off x="466531" y="1408176"/>
            <a:ext cx="8219440" cy="4937224"/>
          </a:xfrm>
          <a:prstGeom prst="rect">
            <a:avLst/>
          </a:prstGeom>
        </p:spPr>
        <p:txBody>
          <a:bodyPr vert="horz" lIns="91440" tIns="45720" rIns="91440" bIns="45720" rtlCol="0">
            <a:normAutofit/>
          </a:bodyPr>
          <a:lstStyle/>
          <a:p>
            <a:pPr lvl="0"/>
            <a:r>
              <a:rPr lang="en-GB" noProof="0" smtClean="0"/>
              <a:t>Click to edit Master text styles</a:t>
            </a:r>
          </a:p>
          <a:p>
            <a:pPr lvl="1"/>
            <a:r>
              <a:rPr lang="en-GB" noProof="0" smtClean="0"/>
              <a:t>First level</a:t>
            </a:r>
          </a:p>
          <a:p>
            <a:pPr lvl="2"/>
            <a:r>
              <a:rPr lang="en-GB" noProof="0" smtClean="0"/>
              <a:t>Second level</a:t>
            </a:r>
          </a:p>
          <a:p>
            <a:pPr lvl="3"/>
            <a:r>
              <a:rPr lang="en-GB" noProof="0" smtClean="0"/>
              <a:t>Third level</a:t>
            </a:r>
          </a:p>
          <a:p>
            <a:pPr lvl="4"/>
            <a:r>
              <a:rPr lang="en-GB" noProof="0" smtClean="0"/>
              <a:t>Fourth level</a:t>
            </a:r>
            <a:endParaRPr lang="en-GB" noProof="0"/>
          </a:p>
        </p:txBody>
      </p:sp>
      <p:sp>
        <p:nvSpPr>
          <p:cNvPr id="4" name="Date Placeholder 3"/>
          <p:cNvSpPr>
            <a:spLocks noGrp="1"/>
          </p:cNvSpPr>
          <p:nvPr>
            <p:ph type="dt" sz="half" idx="2"/>
          </p:nvPr>
        </p:nvSpPr>
        <p:spPr>
          <a:xfrm>
            <a:off x="470004" y="6519789"/>
            <a:ext cx="1146468" cy="230832"/>
          </a:xfrm>
          <a:prstGeom prst="rect">
            <a:avLst/>
          </a:prstGeom>
        </p:spPr>
        <p:txBody>
          <a:bodyPr vert="horz" wrap="none" lIns="91440" tIns="45720" rIns="91440" bIns="45720" rtlCol="0" anchor="ctr">
            <a:spAutoFit/>
          </a:bodyPr>
          <a:lstStyle>
            <a:lvl1pPr algn="l">
              <a:defRPr sz="900">
                <a:solidFill>
                  <a:schemeClr val="tx1">
                    <a:tint val="75000"/>
                  </a:schemeClr>
                </a:solidFill>
              </a:defRPr>
            </a:lvl1pPr>
          </a:lstStyle>
          <a:p>
            <a:pPr defTabSz="457200" fontAlgn="auto">
              <a:spcBef>
                <a:spcPts val="0"/>
              </a:spcBef>
              <a:spcAft>
                <a:spcPts val="0"/>
              </a:spcAft>
            </a:pPr>
            <a:fld id="{1611AAE8-9203-4CC9-986A-0610B3534494}" type="datetime1">
              <a:rPr lang="es-CR" smtClean="0">
                <a:solidFill>
                  <a:srgbClr val="231F20">
                    <a:tint val="75000"/>
                  </a:srgbClr>
                </a:solidFill>
                <a:latin typeface="Verdana"/>
                <a:cs typeface="+mn-cs"/>
              </a:rPr>
              <a:pPr defTabSz="457200" fontAlgn="auto">
                <a:spcBef>
                  <a:spcPts val="0"/>
                </a:spcBef>
                <a:spcAft>
                  <a:spcPts val="0"/>
                </a:spcAft>
              </a:pPr>
              <a:t>29/07/2011</a:t>
            </a:fld>
            <a:endParaRPr lang="en-US" dirty="0">
              <a:solidFill>
                <a:srgbClr val="231F20">
                  <a:tint val="75000"/>
                </a:srgbClr>
              </a:solidFill>
              <a:latin typeface="Verdana"/>
              <a:cs typeface="+mn-cs"/>
            </a:endParaRPr>
          </a:p>
        </p:txBody>
      </p:sp>
      <p:sp>
        <p:nvSpPr>
          <p:cNvPr id="5" name="Footer Placeholder 4"/>
          <p:cNvSpPr>
            <a:spLocks noGrp="1"/>
          </p:cNvSpPr>
          <p:nvPr>
            <p:ph type="ftr" sz="quarter" idx="3"/>
          </p:nvPr>
        </p:nvSpPr>
        <p:spPr>
          <a:xfrm>
            <a:off x="1632476" y="6519789"/>
            <a:ext cx="1390124" cy="230832"/>
          </a:xfrm>
          <a:prstGeom prst="rect">
            <a:avLst/>
          </a:prstGeom>
        </p:spPr>
        <p:txBody>
          <a:bodyPr vert="horz" wrap="none" lIns="91440" tIns="45720" rIns="91440" bIns="45720" rtlCol="0" anchor="ctr">
            <a:spAutoFit/>
          </a:bodyPr>
          <a:lstStyle>
            <a:lvl1pPr algn="l">
              <a:defRPr sz="900">
                <a:solidFill>
                  <a:schemeClr val="tx1">
                    <a:tint val="75000"/>
                  </a:schemeClr>
                </a:solidFill>
              </a:defRPr>
            </a:lvl1pPr>
          </a:lstStyle>
          <a:p>
            <a:pPr defTabSz="457200" fontAlgn="auto">
              <a:spcBef>
                <a:spcPts val="0"/>
              </a:spcBef>
              <a:spcAft>
                <a:spcPts val="0"/>
              </a:spcAft>
            </a:pPr>
            <a:endParaRPr lang="en-US" dirty="0">
              <a:solidFill>
                <a:srgbClr val="231F20">
                  <a:tint val="75000"/>
                </a:srgbClr>
              </a:solidFill>
              <a:latin typeface="Verdana"/>
              <a:cs typeface="+mn-cs"/>
            </a:endParaRPr>
          </a:p>
        </p:txBody>
      </p:sp>
      <p:sp>
        <p:nvSpPr>
          <p:cNvPr id="6" name="Slide Number Placeholder 5"/>
          <p:cNvSpPr>
            <a:spLocks noGrp="1"/>
          </p:cNvSpPr>
          <p:nvPr>
            <p:ph type="sldNum" sz="quarter" idx="4"/>
          </p:nvPr>
        </p:nvSpPr>
        <p:spPr>
          <a:xfrm>
            <a:off x="83924" y="6519789"/>
            <a:ext cx="385042" cy="230832"/>
          </a:xfrm>
          <a:prstGeom prst="rect">
            <a:avLst/>
          </a:prstGeom>
        </p:spPr>
        <p:txBody>
          <a:bodyPr vert="horz" wrap="none" lIns="91440" tIns="45720" rIns="91440" bIns="45720" rtlCol="0" anchor="ctr">
            <a:spAutoFit/>
          </a:bodyPr>
          <a:lstStyle>
            <a:lvl1pPr algn="l">
              <a:defRPr sz="900">
                <a:solidFill>
                  <a:schemeClr val="tx1">
                    <a:tint val="75000"/>
                  </a:schemeClr>
                </a:solidFill>
              </a:defRPr>
            </a:lvl1pPr>
          </a:lstStyle>
          <a:p>
            <a:pPr defTabSz="457200" fontAlgn="auto">
              <a:spcBef>
                <a:spcPts val="0"/>
              </a:spcBef>
              <a:spcAft>
                <a:spcPts val="0"/>
              </a:spcAft>
            </a:pPr>
            <a:fld id="{E95D9087-60FE-ED43-B7E4-1DE39A33D433}" type="slidenum">
              <a:rPr lang="en-US" smtClean="0">
                <a:solidFill>
                  <a:srgbClr val="231F20">
                    <a:tint val="75000"/>
                  </a:srgbClr>
                </a:solidFill>
                <a:latin typeface="Verdana"/>
                <a:cs typeface="+mn-cs"/>
              </a:rPr>
              <a:pPr defTabSz="457200" fontAlgn="auto">
                <a:spcBef>
                  <a:spcPts val="0"/>
                </a:spcBef>
                <a:spcAft>
                  <a:spcPts val="0"/>
                </a:spcAft>
              </a:pPr>
              <a:t>‹#›</a:t>
            </a:fld>
            <a:endParaRPr lang="en-US" dirty="0">
              <a:solidFill>
                <a:srgbClr val="231F20">
                  <a:tint val="75000"/>
                </a:srgbClr>
              </a:solidFill>
              <a:latin typeface="Verdana"/>
              <a:cs typeface="+mn-cs"/>
            </a:endParaRPr>
          </a:p>
        </p:txBody>
      </p:sp>
      <p:pic>
        <p:nvPicPr>
          <p:cNvPr id="10" name="Picture 9"/>
          <p:cNvPicPr>
            <a:picLocks noChangeAspect="1"/>
          </p:cNvPicPr>
          <p:nvPr/>
        </p:nvPicPr>
        <p:blipFill>
          <a:blip r:embed="rId13" cstate="print"/>
          <a:stretch>
            <a:fillRect/>
          </a:stretch>
        </p:blipFill>
        <p:spPr>
          <a:xfrm>
            <a:off x="457200" y="1119057"/>
            <a:ext cx="8229600" cy="38100"/>
          </a:xfrm>
          <a:prstGeom prst="rect">
            <a:avLst/>
          </a:prstGeom>
        </p:spPr>
      </p:pic>
      <p:pic>
        <p:nvPicPr>
          <p:cNvPr id="12" name="Picture 11" descr="Best Resolution DAMCO logo.jpg"/>
          <p:cNvPicPr>
            <a:picLocks noChangeAspect="1"/>
          </p:cNvPicPr>
          <p:nvPr/>
        </p:nvPicPr>
        <p:blipFill>
          <a:blip r:embed="rId14" cstate="print"/>
          <a:stretch>
            <a:fillRect/>
          </a:stretch>
        </p:blipFill>
        <p:spPr>
          <a:xfrm>
            <a:off x="7791317" y="247743"/>
            <a:ext cx="885139" cy="246888"/>
          </a:xfrm>
          <a:prstGeom prst="rect">
            <a:avLst/>
          </a:prstGeom>
        </p:spPr>
      </p:pic>
      <p:pic>
        <p:nvPicPr>
          <p:cNvPr id="9" name="Billede 8" descr="RFTO_kampangelogo_02.tif"/>
          <p:cNvPicPr>
            <a:picLocks noChangeAspect="1"/>
          </p:cNvPicPr>
          <p:nvPr/>
        </p:nvPicPr>
        <p:blipFill>
          <a:blip r:embed="rId15" cstate="print"/>
          <a:stretch>
            <a:fillRect/>
          </a:stretch>
        </p:blipFill>
        <p:spPr>
          <a:xfrm>
            <a:off x="5816381" y="5943600"/>
            <a:ext cx="2879750" cy="868070"/>
          </a:xfrm>
          <a:prstGeom prst="rect">
            <a:avLst/>
          </a:prstGeom>
        </p:spPr>
      </p:pic>
    </p:spTree>
    <p:extLst>
      <p:ext uri="{BB962C8B-B14F-4D97-AF65-F5344CB8AC3E}">
        <p14:creationId xmlns:p14="http://schemas.microsoft.com/office/powerpoint/2010/main" xmlns="" val="302810795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Lst>
  <p:hf sldNum="0" hdr="0" ftr="0"/>
  <p:txStyles>
    <p:titleStyle>
      <a:lvl1pPr algn="l" defTabSz="457200" rtl="0" eaLnBrk="1" latinLnBrk="0" hangingPunct="1">
        <a:spcBef>
          <a:spcPct val="0"/>
        </a:spcBef>
        <a:buNone/>
        <a:defRPr sz="2800" b="1" kern="1200">
          <a:solidFill>
            <a:schemeClr val="accent1"/>
          </a:solidFill>
          <a:latin typeface="+mj-lt"/>
          <a:ea typeface="+mj-ea"/>
          <a:cs typeface="+mj-cs"/>
        </a:defRPr>
      </a:lvl1pPr>
    </p:titleStyle>
    <p:bodyStyle>
      <a:lvl1pPr marL="0" indent="0" algn="l" defTabSz="457200" rtl="0" eaLnBrk="1" latinLnBrk="0" hangingPunct="1">
        <a:spcBef>
          <a:spcPts val="600"/>
        </a:spcBef>
        <a:spcAft>
          <a:spcPts val="600"/>
        </a:spcAft>
        <a:buFont typeface="Arial"/>
        <a:buNone/>
        <a:defRPr sz="2000" kern="1200">
          <a:solidFill>
            <a:schemeClr val="tx2">
              <a:lumMod val="75000"/>
              <a:lumOff val="25000"/>
            </a:schemeClr>
          </a:solidFill>
          <a:latin typeface="+mn-lt"/>
          <a:ea typeface="+mn-ea"/>
          <a:cs typeface="+mn-cs"/>
        </a:defRPr>
      </a:lvl1pPr>
      <a:lvl2pPr marL="228600" indent="-228600" algn="l" defTabSz="457200" rtl="0" eaLnBrk="1" latinLnBrk="0" hangingPunct="1">
        <a:spcBef>
          <a:spcPts val="500"/>
        </a:spcBef>
        <a:buClr>
          <a:schemeClr val="accent1"/>
        </a:buClr>
        <a:buFont typeface="Verdana" pitchFamily="34" charset="0"/>
        <a:buChar char="●"/>
        <a:defRPr sz="1800" kern="1200">
          <a:solidFill>
            <a:schemeClr val="tx2">
              <a:lumMod val="75000"/>
              <a:lumOff val="25000"/>
            </a:schemeClr>
          </a:solidFill>
          <a:latin typeface="+mn-lt"/>
          <a:ea typeface="+mn-ea"/>
          <a:cs typeface="+mn-cs"/>
        </a:defRPr>
      </a:lvl2pPr>
      <a:lvl3pPr marL="571500" indent="-287338" algn="l" defTabSz="457200" rtl="0" eaLnBrk="1" latinLnBrk="0" hangingPunct="1">
        <a:spcBef>
          <a:spcPts val="600"/>
        </a:spcBef>
        <a:buClr>
          <a:schemeClr val="accent3"/>
        </a:buClr>
        <a:buFont typeface="Verdana" pitchFamily="34" charset="0"/>
        <a:buChar char="●"/>
        <a:defRPr sz="1600" kern="1200">
          <a:solidFill>
            <a:schemeClr val="tx2">
              <a:lumMod val="75000"/>
              <a:lumOff val="25000"/>
            </a:schemeClr>
          </a:solidFill>
          <a:latin typeface="+mn-lt"/>
          <a:ea typeface="+mn-ea"/>
          <a:cs typeface="+mn-cs"/>
        </a:defRPr>
      </a:lvl3pPr>
      <a:lvl4pPr marL="803275" indent="-182563" algn="l" defTabSz="457200" rtl="0" eaLnBrk="1" latinLnBrk="0" hangingPunct="1">
        <a:spcBef>
          <a:spcPts val="600"/>
        </a:spcBef>
        <a:buClr>
          <a:schemeClr val="accent2"/>
        </a:buClr>
        <a:buFont typeface="Verdana" pitchFamily="34" charset="0"/>
        <a:buChar char="●"/>
        <a:defRPr sz="1400" kern="1200">
          <a:solidFill>
            <a:schemeClr val="tx2">
              <a:lumMod val="75000"/>
              <a:lumOff val="25000"/>
            </a:schemeClr>
          </a:solidFill>
          <a:latin typeface="+mn-lt"/>
          <a:ea typeface="+mn-ea"/>
          <a:cs typeface="+mn-cs"/>
        </a:defRPr>
      </a:lvl4pPr>
      <a:lvl5pPr marL="1087438" indent="-173038" algn="l" defTabSz="457200" rtl="0" eaLnBrk="1" latinLnBrk="0" hangingPunct="1">
        <a:spcBef>
          <a:spcPts val="600"/>
        </a:spcBef>
        <a:buClr>
          <a:schemeClr val="bg2">
            <a:lumMod val="75000"/>
          </a:schemeClr>
        </a:buClr>
        <a:buFont typeface="Verdana" pitchFamily="34" charset="0"/>
        <a:buChar char="●"/>
        <a:defRPr sz="1400" kern="1200">
          <a:solidFill>
            <a:schemeClr val="tx2">
              <a:lumMod val="75000"/>
              <a:lumOff val="2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65218" name="Picture 2" descr="Element A_05b"/>
          <p:cNvPicPr>
            <a:picLocks noChangeAspect="1" noChangeArrowheads="1"/>
          </p:cNvPicPr>
          <p:nvPr/>
        </p:nvPicPr>
        <p:blipFill>
          <a:blip r:embed="rId13" cstate="print"/>
          <a:srcRect/>
          <a:stretch>
            <a:fillRect/>
          </a:stretch>
        </p:blipFill>
        <p:spPr bwMode="auto">
          <a:xfrm>
            <a:off x="0" y="0"/>
            <a:ext cx="9148763" cy="1408113"/>
          </a:xfrm>
          <a:prstGeom prst="rect">
            <a:avLst/>
          </a:prstGeom>
          <a:noFill/>
          <a:ln w="9525">
            <a:noFill/>
            <a:miter lim="800000"/>
            <a:headEnd/>
            <a:tailEnd/>
          </a:ln>
        </p:spPr>
      </p:pic>
      <p:sp>
        <p:nvSpPr>
          <p:cNvPr id="265219" name="Rectangle 3"/>
          <p:cNvSpPr>
            <a:spLocks noGrp="1" noChangeArrowheads="1"/>
          </p:cNvSpPr>
          <p:nvPr>
            <p:ph type="body" idx="1"/>
          </p:nvPr>
        </p:nvSpPr>
        <p:spPr bwMode="auto">
          <a:xfrm>
            <a:off x="684213" y="1412875"/>
            <a:ext cx="8135937" cy="4824413"/>
          </a:xfrm>
          <a:prstGeom prst="rect">
            <a:avLst/>
          </a:prstGeom>
          <a:noFill/>
          <a:ln w="9525">
            <a:noFill/>
            <a:miter lim="800000"/>
            <a:headEnd/>
            <a:tailEnd/>
          </a:ln>
        </p:spPr>
        <p:txBody>
          <a:bodyPr vert="horz" wrap="square" lIns="87264" tIns="43630" rIns="87264" bIns="4363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89092" name="Text Box 4"/>
          <p:cNvSpPr txBox="1">
            <a:spLocks noChangeArrowheads="1"/>
          </p:cNvSpPr>
          <p:nvPr/>
        </p:nvSpPr>
        <p:spPr bwMode="auto">
          <a:xfrm>
            <a:off x="8480425" y="6413500"/>
            <a:ext cx="423863" cy="207963"/>
          </a:xfrm>
          <a:prstGeom prst="rect">
            <a:avLst/>
          </a:prstGeom>
          <a:noFill/>
          <a:ln w="9525">
            <a:noFill/>
            <a:miter lim="800000"/>
            <a:headEnd/>
            <a:tailEnd/>
          </a:ln>
          <a:effectLst/>
        </p:spPr>
        <p:txBody>
          <a:bodyPr lIns="81638" tIns="42452" rIns="81638" bIns="42452">
            <a:spAutoFit/>
          </a:bodyPr>
          <a:lstStyle/>
          <a:p>
            <a:pPr algn="ctr" defTabSz="830263" eaLnBrk="0" hangingPunct="0">
              <a:spcBef>
                <a:spcPct val="50000"/>
              </a:spcBef>
              <a:defRPr/>
            </a:pPr>
            <a:fld id="{4629BB02-EAF5-4024-9221-16FABEA4D6D8}" type="slidenum">
              <a:rPr lang="en-GB" sz="800">
                <a:solidFill>
                  <a:srgbClr val="FFFFFF"/>
                </a:solidFill>
                <a:latin typeface="Verdana" pitchFamily="34" charset="0"/>
                <a:ea typeface="ＭＳ Ｐゴシック" pitchFamily="34" charset="-128"/>
                <a:cs typeface="+mn-cs"/>
              </a:rPr>
              <a:pPr algn="ctr" defTabSz="830263" eaLnBrk="0" hangingPunct="0">
                <a:spcBef>
                  <a:spcPct val="50000"/>
                </a:spcBef>
                <a:defRPr/>
              </a:pPr>
              <a:t>‹#›</a:t>
            </a:fld>
            <a:endParaRPr lang="en-GB" sz="800" dirty="0">
              <a:solidFill>
                <a:srgbClr val="231F20"/>
              </a:solidFill>
              <a:latin typeface="Verdana" pitchFamily="34" charset="0"/>
              <a:ea typeface="ＭＳ Ｐゴシック" pitchFamily="34" charset="-128"/>
              <a:cs typeface="+mn-cs"/>
            </a:endParaRPr>
          </a:p>
        </p:txBody>
      </p:sp>
      <p:sp>
        <p:nvSpPr>
          <p:cNvPr id="265221" name="Rectangle 5"/>
          <p:cNvSpPr>
            <a:spLocks noGrp="1" noChangeArrowheads="1"/>
          </p:cNvSpPr>
          <p:nvPr>
            <p:ph type="title"/>
          </p:nvPr>
        </p:nvSpPr>
        <p:spPr bwMode="auto">
          <a:xfrm>
            <a:off x="588963" y="292100"/>
            <a:ext cx="6192837" cy="647700"/>
          </a:xfrm>
          <a:prstGeom prst="rect">
            <a:avLst/>
          </a:prstGeom>
          <a:noFill/>
          <a:ln w="9525">
            <a:noFill/>
            <a:miter lim="800000"/>
            <a:headEnd/>
            <a:tailEnd/>
          </a:ln>
        </p:spPr>
        <p:txBody>
          <a:bodyPr vert="horz" wrap="square" lIns="82944" tIns="41472" rIns="82944" bIns="41472" numCol="1" anchor="b" anchorCtr="0" compatLnSpc="1">
            <a:prstTxWarp prst="textNoShape">
              <a:avLst/>
            </a:prstTxWarp>
          </a:bodyPr>
          <a:lstStyle/>
          <a:p>
            <a:pPr lvl="0"/>
            <a:r>
              <a:rPr lang="da-DK" smtClean="0"/>
              <a:t>Click to edit Master title style</a:t>
            </a:r>
          </a:p>
        </p:txBody>
      </p:sp>
      <p:sp>
        <p:nvSpPr>
          <p:cNvPr id="89094" name="Rectangle 6"/>
          <p:cNvSpPr>
            <a:spLocks noGrp="1" noChangeArrowheads="1"/>
          </p:cNvSpPr>
          <p:nvPr>
            <p:ph type="sldNum" sz="quarter" idx="4"/>
          </p:nvPr>
        </p:nvSpPr>
        <p:spPr bwMode="auto">
          <a:xfrm>
            <a:off x="6880225" y="6245225"/>
            <a:ext cx="2133600" cy="2238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spcBef>
                <a:spcPct val="0"/>
              </a:spcBef>
              <a:defRPr sz="1200" smtClean="0">
                <a:solidFill>
                  <a:srgbClr val="00215B"/>
                </a:solidFill>
              </a:defRPr>
            </a:lvl1pPr>
          </a:lstStyle>
          <a:p>
            <a:pPr>
              <a:defRPr/>
            </a:pPr>
            <a:fld id="{4788678D-224F-4A2A-A367-CAEF0F640D24}" type="slidenum">
              <a:rPr lang="da-DK">
                <a:latin typeface="Verdana" pitchFamily="34" charset="0"/>
                <a:ea typeface="ＭＳ Ｐゴシック" pitchFamily="34" charset="-128"/>
                <a:cs typeface="+mn-cs"/>
              </a:rPr>
              <a:pPr>
                <a:defRPr/>
              </a:pPr>
              <a:t>‹#›</a:t>
            </a:fld>
            <a:endParaRPr lang="da-DK">
              <a:latin typeface="Verdana" pitchFamily="34" charset="0"/>
              <a:ea typeface="ＭＳ Ｐゴシック" pitchFamily="34" charset="-128"/>
              <a:cs typeface="+mn-cs"/>
            </a:endParaRPr>
          </a:p>
        </p:txBody>
      </p:sp>
      <p:pic>
        <p:nvPicPr>
          <p:cNvPr id="265223" name="Picture 7" descr="Tab_b"/>
          <p:cNvPicPr>
            <a:picLocks noChangeAspect="1" noChangeArrowheads="1"/>
          </p:cNvPicPr>
          <p:nvPr/>
        </p:nvPicPr>
        <p:blipFill>
          <a:blip r:embed="rId14" cstate="print"/>
          <a:srcRect/>
          <a:stretch>
            <a:fillRect/>
          </a:stretch>
        </p:blipFill>
        <p:spPr bwMode="auto">
          <a:xfrm>
            <a:off x="0" y="6692900"/>
            <a:ext cx="9148763" cy="165100"/>
          </a:xfrm>
          <a:prstGeom prst="rect">
            <a:avLst/>
          </a:prstGeom>
          <a:noFill/>
          <a:ln w="9525">
            <a:noFill/>
            <a:miter lim="800000"/>
            <a:headEnd/>
            <a:tailEnd/>
          </a:ln>
        </p:spPr>
      </p:pic>
      <p:pic>
        <p:nvPicPr>
          <p:cNvPr id="265224" name="Picture 8" descr="Small logo_pages_150"/>
          <p:cNvPicPr>
            <a:picLocks noChangeAspect="1" noChangeArrowheads="1"/>
          </p:cNvPicPr>
          <p:nvPr/>
        </p:nvPicPr>
        <p:blipFill>
          <a:blip r:embed="rId15" cstate="print"/>
          <a:srcRect/>
          <a:stretch>
            <a:fillRect/>
          </a:stretch>
        </p:blipFill>
        <p:spPr bwMode="auto">
          <a:xfrm>
            <a:off x="7394575" y="320675"/>
            <a:ext cx="1463675" cy="407988"/>
          </a:xfrm>
          <a:prstGeom prst="rect">
            <a:avLst/>
          </a:prstGeom>
          <a:noFill/>
          <a:ln w="9525">
            <a:noFill/>
            <a:miter lim="800000"/>
            <a:headEnd/>
            <a:tailEnd/>
          </a:ln>
        </p:spPr>
      </p:pic>
      <p:pic>
        <p:nvPicPr>
          <p:cNvPr id="265225" name="Picture 9" descr="logo_metro_rgb">
            <a:hlinkClick r:id="rId16"/>
          </p:cNvPr>
          <p:cNvPicPr>
            <a:picLocks noChangeAspect="1" noChangeArrowheads="1"/>
          </p:cNvPicPr>
          <p:nvPr/>
        </p:nvPicPr>
        <p:blipFill>
          <a:blip r:embed="rId17" cstate="print"/>
          <a:srcRect/>
          <a:stretch>
            <a:fillRect/>
          </a:stretch>
        </p:blipFill>
        <p:spPr bwMode="auto">
          <a:xfrm>
            <a:off x="6210300" y="296863"/>
            <a:ext cx="936625" cy="46831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hf sldNum="0" hdr="0" ftr="0"/>
  <p:txStyles>
    <p:titleStyle>
      <a:lvl1pPr algn="l" defTabSz="873125" rtl="0" eaLnBrk="0" fontAlgn="base" hangingPunct="0">
        <a:spcBef>
          <a:spcPct val="0"/>
        </a:spcBef>
        <a:spcAft>
          <a:spcPct val="0"/>
        </a:spcAft>
        <a:defRPr sz="2400">
          <a:solidFill>
            <a:srgbClr val="00215B"/>
          </a:solidFill>
          <a:latin typeface="+mj-lt"/>
          <a:ea typeface="+mj-ea"/>
          <a:cs typeface="+mj-cs"/>
        </a:defRPr>
      </a:lvl1pPr>
      <a:lvl2pPr algn="l" defTabSz="873125" rtl="0" eaLnBrk="0" fontAlgn="base" hangingPunct="0">
        <a:spcBef>
          <a:spcPct val="0"/>
        </a:spcBef>
        <a:spcAft>
          <a:spcPct val="0"/>
        </a:spcAft>
        <a:defRPr sz="2400">
          <a:solidFill>
            <a:srgbClr val="00215B"/>
          </a:solidFill>
          <a:latin typeface="Verdana" pitchFamily="34" charset="0"/>
        </a:defRPr>
      </a:lvl2pPr>
      <a:lvl3pPr algn="l" defTabSz="873125" rtl="0" eaLnBrk="0" fontAlgn="base" hangingPunct="0">
        <a:spcBef>
          <a:spcPct val="0"/>
        </a:spcBef>
        <a:spcAft>
          <a:spcPct val="0"/>
        </a:spcAft>
        <a:defRPr sz="2400">
          <a:solidFill>
            <a:srgbClr val="00215B"/>
          </a:solidFill>
          <a:latin typeface="Verdana" pitchFamily="34" charset="0"/>
        </a:defRPr>
      </a:lvl3pPr>
      <a:lvl4pPr algn="l" defTabSz="873125" rtl="0" eaLnBrk="0" fontAlgn="base" hangingPunct="0">
        <a:spcBef>
          <a:spcPct val="0"/>
        </a:spcBef>
        <a:spcAft>
          <a:spcPct val="0"/>
        </a:spcAft>
        <a:defRPr sz="2400">
          <a:solidFill>
            <a:srgbClr val="00215B"/>
          </a:solidFill>
          <a:latin typeface="Verdana" pitchFamily="34" charset="0"/>
        </a:defRPr>
      </a:lvl4pPr>
      <a:lvl5pPr algn="l" defTabSz="873125" rtl="0" eaLnBrk="0" fontAlgn="base" hangingPunct="0">
        <a:spcBef>
          <a:spcPct val="0"/>
        </a:spcBef>
        <a:spcAft>
          <a:spcPct val="0"/>
        </a:spcAft>
        <a:defRPr sz="2400">
          <a:solidFill>
            <a:srgbClr val="00215B"/>
          </a:solidFill>
          <a:latin typeface="Verdana" pitchFamily="34" charset="0"/>
        </a:defRPr>
      </a:lvl5pPr>
      <a:lvl6pPr marL="457200" algn="l" defTabSz="873125" rtl="0" eaLnBrk="0" fontAlgn="base" hangingPunct="0">
        <a:spcBef>
          <a:spcPct val="0"/>
        </a:spcBef>
        <a:spcAft>
          <a:spcPct val="0"/>
        </a:spcAft>
        <a:defRPr sz="2400">
          <a:solidFill>
            <a:srgbClr val="00215B"/>
          </a:solidFill>
          <a:latin typeface="Verdana" pitchFamily="34" charset="0"/>
        </a:defRPr>
      </a:lvl6pPr>
      <a:lvl7pPr marL="914400" algn="l" defTabSz="873125" rtl="0" eaLnBrk="0" fontAlgn="base" hangingPunct="0">
        <a:spcBef>
          <a:spcPct val="0"/>
        </a:spcBef>
        <a:spcAft>
          <a:spcPct val="0"/>
        </a:spcAft>
        <a:defRPr sz="2400">
          <a:solidFill>
            <a:srgbClr val="00215B"/>
          </a:solidFill>
          <a:latin typeface="Verdana" pitchFamily="34" charset="0"/>
        </a:defRPr>
      </a:lvl7pPr>
      <a:lvl8pPr marL="1371600" algn="l" defTabSz="873125" rtl="0" eaLnBrk="0" fontAlgn="base" hangingPunct="0">
        <a:spcBef>
          <a:spcPct val="0"/>
        </a:spcBef>
        <a:spcAft>
          <a:spcPct val="0"/>
        </a:spcAft>
        <a:defRPr sz="2400">
          <a:solidFill>
            <a:srgbClr val="00215B"/>
          </a:solidFill>
          <a:latin typeface="Verdana" pitchFamily="34" charset="0"/>
        </a:defRPr>
      </a:lvl8pPr>
      <a:lvl9pPr marL="1828800" algn="l" defTabSz="873125" rtl="0" eaLnBrk="0" fontAlgn="base" hangingPunct="0">
        <a:spcBef>
          <a:spcPct val="0"/>
        </a:spcBef>
        <a:spcAft>
          <a:spcPct val="0"/>
        </a:spcAft>
        <a:defRPr sz="2400">
          <a:solidFill>
            <a:srgbClr val="00215B"/>
          </a:solidFill>
          <a:latin typeface="Verdana" pitchFamily="34" charset="0"/>
        </a:defRPr>
      </a:lvl9pPr>
    </p:titleStyle>
    <p:bodyStyle>
      <a:lvl1pPr marL="342900" indent="-342900" algn="l" defTabSz="873125" rtl="0" eaLnBrk="0" fontAlgn="base" hangingPunct="0">
        <a:spcBef>
          <a:spcPct val="40000"/>
        </a:spcBef>
        <a:spcAft>
          <a:spcPct val="40000"/>
        </a:spcAft>
        <a:buClr>
          <a:srgbClr val="5CBACC"/>
        </a:buClr>
        <a:defRPr>
          <a:solidFill>
            <a:srgbClr val="00215B"/>
          </a:solidFill>
          <a:latin typeface="+mn-lt"/>
          <a:ea typeface="+mn-ea"/>
          <a:cs typeface="+mn-cs"/>
        </a:defRPr>
      </a:lvl1pPr>
      <a:lvl2pPr marL="407988" indent="-244475" algn="l" defTabSz="873125" rtl="0" eaLnBrk="0" fontAlgn="base" hangingPunct="0">
        <a:spcBef>
          <a:spcPct val="20000"/>
        </a:spcBef>
        <a:spcAft>
          <a:spcPct val="40000"/>
        </a:spcAft>
        <a:buClr>
          <a:srgbClr val="97C550"/>
        </a:buClr>
        <a:buFont typeface="Wingdings" pitchFamily="2" charset="2"/>
        <a:buChar char="§"/>
        <a:defRPr>
          <a:solidFill>
            <a:srgbClr val="00215B"/>
          </a:solidFill>
          <a:latin typeface="+mn-lt"/>
        </a:defRPr>
      </a:lvl2pPr>
      <a:lvl3pPr marL="814388" indent="-244475" algn="l" defTabSz="873125" rtl="0" eaLnBrk="0" fontAlgn="base" hangingPunct="0">
        <a:spcBef>
          <a:spcPct val="20000"/>
        </a:spcBef>
        <a:spcAft>
          <a:spcPct val="40000"/>
        </a:spcAft>
        <a:buClr>
          <a:srgbClr val="398FD1"/>
        </a:buClr>
        <a:buFont typeface="Wingdings" pitchFamily="2" charset="2"/>
        <a:buChar char="§"/>
        <a:defRPr sz="1600">
          <a:solidFill>
            <a:srgbClr val="00215B"/>
          </a:solidFill>
          <a:latin typeface="+mn-lt"/>
        </a:defRPr>
      </a:lvl3pPr>
      <a:lvl4pPr marL="1222375" indent="-244475" algn="l" defTabSz="873125" rtl="0" eaLnBrk="0" fontAlgn="base" hangingPunct="0">
        <a:spcBef>
          <a:spcPct val="20000"/>
        </a:spcBef>
        <a:spcAft>
          <a:spcPct val="40000"/>
        </a:spcAft>
        <a:buClr>
          <a:srgbClr val="54AB42"/>
        </a:buClr>
        <a:buFont typeface="Wingdings" pitchFamily="2" charset="2"/>
        <a:buChar char="§"/>
        <a:defRPr sz="1600">
          <a:solidFill>
            <a:srgbClr val="00215B"/>
          </a:solidFill>
          <a:latin typeface="+mn-lt"/>
        </a:defRPr>
      </a:lvl4pPr>
      <a:lvl5pPr marL="1624013" indent="-238125" algn="l" defTabSz="873125" rtl="0" eaLnBrk="0" fontAlgn="base" hangingPunct="0">
        <a:spcBef>
          <a:spcPct val="20000"/>
        </a:spcBef>
        <a:spcAft>
          <a:spcPct val="40000"/>
        </a:spcAft>
        <a:buClr>
          <a:srgbClr val="00215B"/>
        </a:buClr>
        <a:buFont typeface="Wingdings" pitchFamily="2" charset="2"/>
        <a:buChar char="§"/>
        <a:defRPr sz="1600">
          <a:solidFill>
            <a:srgbClr val="00215B"/>
          </a:solidFill>
          <a:latin typeface="+mn-lt"/>
        </a:defRPr>
      </a:lvl5pPr>
      <a:lvl6pPr marL="2081213" indent="-238125" algn="l" defTabSz="873125" rtl="0" eaLnBrk="0" fontAlgn="base" hangingPunct="0">
        <a:spcBef>
          <a:spcPct val="20000"/>
        </a:spcBef>
        <a:spcAft>
          <a:spcPct val="40000"/>
        </a:spcAft>
        <a:buClr>
          <a:srgbClr val="00215B"/>
        </a:buClr>
        <a:buFont typeface="Wingdings" pitchFamily="2" charset="2"/>
        <a:buChar char="§"/>
        <a:defRPr sz="1600">
          <a:solidFill>
            <a:srgbClr val="00215B"/>
          </a:solidFill>
          <a:latin typeface="+mn-lt"/>
        </a:defRPr>
      </a:lvl6pPr>
      <a:lvl7pPr marL="2538413" indent="-238125" algn="l" defTabSz="873125" rtl="0" eaLnBrk="0" fontAlgn="base" hangingPunct="0">
        <a:spcBef>
          <a:spcPct val="20000"/>
        </a:spcBef>
        <a:spcAft>
          <a:spcPct val="40000"/>
        </a:spcAft>
        <a:buClr>
          <a:srgbClr val="00215B"/>
        </a:buClr>
        <a:buFont typeface="Wingdings" pitchFamily="2" charset="2"/>
        <a:buChar char="§"/>
        <a:defRPr sz="1600">
          <a:solidFill>
            <a:srgbClr val="00215B"/>
          </a:solidFill>
          <a:latin typeface="+mn-lt"/>
        </a:defRPr>
      </a:lvl7pPr>
      <a:lvl8pPr marL="2995613" indent="-238125" algn="l" defTabSz="873125" rtl="0" eaLnBrk="0" fontAlgn="base" hangingPunct="0">
        <a:spcBef>
          <a:spcPct val="20000"/>
        </a:spcBef>
        <a:spcAft>
          <a:spcPct val="40000"/>
        </a:spcAft>
        <a:buClr>
          <a:srgbClr val="00215B"/>
        </a:buClr>
        <a:buFont typeface="Wingdings" pitchFamily="2" charset="2"/>
        <a:buChar char="§"/>
        <a:defRPr sz="1600">
          <a:solidFill>
            <a:srgbClr val="00215B"/>
          </a:solidFill>
          <a:latin typeface="+mn-lt"/>
        </a:defRPr>
      </a:lvl8pPr>
      <a:lvl9pPr marL="3452813" indent="-238125" algn="l" defTabSz="873125" rtl="0" eaLnBrk="0" fontAlgn="base" hangingPunct="0">
        <a:spcBef>
          <a:spcPct val="20000"/>
        </a:spcBef>
        <a:spcAft>
          <a:spcPct val="40000"/>
        </a:spcAft>
        <a:buClr>
          <a:srgbClr val="00215B"/>
        </a:buClr>
        <a:buFont typeface="Wingdings" pitchFamily="2" charset="2"/>
        <a:buChar char="§"/>
        <a:defRPr sz="1600">
          <a:solidFill>
            <a:srgbClr val="00215B"/>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36.jpeg"/></Relationships>
</file>

<file path=ppt/slides/_rels/slide1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hyperlink" Target="http://images.google.com/imgres?imgurl=http://i2.cdn.turner.com/money/galleries/2008/fortune/0805/gallery.private_companies.fortune/images/he_butt_grocery.jpg&amp;imgrefurl=http://money.cnn.com/galleries/2008/fortune/0805/gallery.private_companies.fortune/21.html&amp;usg=__DBfL1VU6CJqGM6RVO1naFqpnteI=&amp;h=256&amp;w=340&amp;sz=12&amp;hl=en&amp;start=1&amp;tbnid=o-5yofR1PoMauM:&amp;tbnh=90&amp;tbnw=119&amp;prev=/images?q=h.e.+butt&amp;gbv=2&amp;ndsp=18&amp;hl=en&amp;safe=active&amp;sa=N" TargetMode="External"/><Relationship Id="rId26" Type="http://schemas.openxmlformats.org/officeDocument/2006/relationships/image" Target="../media/image47.png"/><Relationship Id="rId39" Type="http://schemas.openxmlformats.org/officeDocument/2006/relationships/hyperlink" Target="http://www.djgusa.com/usa/eng/" TargetMode="External"/><Relationship Id="rId21" Type="http://schemas.openxmlformats.org/officeDocument/2006/relationships/image" Target="../media/image44.jpeg"/><Relationship Id="rId34" Type="http://schemas.openxmlformats.org/officeDocument/2006/relationships/image" Target="../media/image54.png"/><Relationship Id="rId42" Type="http://schemas.openxmlformats.org/officeDocument/2006/relationships/hyperlink" Target="http://images.google.com/imgres?imgurl=http://tlginnovation.com/Media_Library/Logos/boeing_Logo_L.jpg&amp;imgrefurl=http://commercemashup.com/FCCPNW/2008/08/presenting-partner-boeing-company/&amp;usg=__8XdKYWtW7-Www5Sh5oMvdy6euUI=&amp;h=531&amp;w=2239&amp;sz=253&amp;hl=en&amp;start=1&amp;tbnid=ZdBMhp-yvKULQM:&amp;tbnh=36&amp;tbnw=150&amp;prev=/images?q=boeing+logo&amp;gbv=2&amp;hl=en&amp;safe=active" TargetMode="External"/><Relationship Id="rId47" Type="http://schemas.openxmlformats.org/officeDocument/2006/relationships/image" Target="../media/image61.jpeg"/><Relationship Id="rId50" Type="http://schemas.openxmlformats.org/officeDocument/2006/relationships/hyperlink" Target="http://images.google.com/imgres?imgurl=http://boubyan-plastics.com/images/Borouge_logo.gif&amp;imgrefurl=http://boubyan-plastics.com/&amp;usg=__iWFvlS6czXt26NrDVZlnisTHIRk=&amp;h=84&amp;w=190&amp;sz=3&amp;hl=en&amp;start=12&amp;tbnid=B6aex0HB_uAnQM:&amp;tbnh=46&amp;tbnw=103&amp;prev=/images?q=borouge+logo&amp;gbv=2&amp;hl=en&amp;safe=active" TargetMode="External"/><Relationship Id="rId55" Type="http://schemas.openxmlformats.org/officeDocument/2006/relationships/image" Target="../media/image65.jpeg"/><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oleObject" Target="../embeddings/oleObject1.bin"/><Relationship Id="rId25" Type="http://schemas.openxmlformats.org/officeDocument/2006/relationships/oleObject" Target="../embeddings/oleObject2.bin"/><Relationship Id="rId33" Type="http://schemas.openxmlformats.org/officeDocument/2006/relationships/image" Target="../media/image53.jpeg"/><Relationship Id="rId38" Type="http://schemas.openxmlformats.org/officeDocument/2006/relationships/image" Target="../media/image56.png"/><Relationship Id="rId46" Type="http://schemas.openxmlformats.org/officeDocument/2006/relationships/hyperlink" Target="http://images.google.com/imgres?imgurl=http://www.keyzone.com/images/LockheedMartinLogo.jpg&amp;imgrefurl=http://www.keyzone.com/info/Customer_Comments.html&amp;usg=__BC84AQWx-zHCGXWxt5Vp6IkiePs=&amp;h=600&amp;w=3025&amp;sz=75&amp;hl=en&amp;start=1&amp;tbnid=KPBCKfN7BKacBM:&amp;tbnh=30&amp;tbnw=150&amp;prev=/images?q=lockheed+martin&amp;gbv=2&amp;hl=en&amp;safe=active&amp;sa=X" TargetMode="External"/><Relationship Id="rId59" Type="http://schemas.openxmlformats.org/officeDocument/2006/relationships/image" Target="../media/image68.png"/><Relationship Id="rId2" Type="http://schemas.openxmlformats.org/officeDocument/2006/relationships/tags" Target="../tags/tag1.xml"/><Relationship Id="rId16" Type="http://schemas.openxmlformats.org/officeDocument/2006/relationships/notesSlide" Target="../notesSlides/notesSlide14.xml"/><Relationship Id="rId20" Type="http://schemas.openxmlformats.org/officeDocument/2006/relationships/image" Target="../media/image43.jpeg"/><Relationship Id="rId29" Type="http://schemas.openxmlformats.org/officeDocument/2006/relationships/hyperlink" Target="http://images.google.com/imgres?imgurl=http://media.monster.com/xfedmerchx/joblogo.gif&amp;imgrefurl=http://company.monster.com/fedmerch/&amp;usg=__4al16x4ZKy6Ufn8NFibOcu8z62o=&amp;h=144&amp;w=400&amp;sz=9&amp;hl=en&amp;start=13&amp;um=1&amp;tbnid=xrZiyNRpLqZfsM:&amp;tbnh=45&amp;tbnw=124&amp;prev=/images?q=macy+merchandising+group&amp;hl=en&amp;safe=active&amp;sa=N&amp;um=1" TargetMode="External"/><Relationship Id="rId41" Type="http://schemas.openxmlformats.org/officeDocument/2006/relationships/image" Target="../media/image58.png"/><Relationship Id="rId54" Type="http://schemas.openxmlformats.org/officeDocument/2006/relationships/hyperlink" Target="http://images.google.com/imgres?imgurl=http://www.aces-co.com/new/images/clients/28427-hi-sabic_logo_rgb.jpg&amp;imgrefurl=http://www.aces-co.com/new/sc.php&amp;usg=__ZADttbNBFPR0y2ZvZw8yPhIuUu0=&amp;h=610&amp;w=1200&amp;sz=173&amp;hl=en&amp;start=3&amp;tbnid=AVXo739hL164hM:&amp;tbnh=76&amp;tbnw=150&amp;prev=/images?q=sabic&amp;gbv=2&amp;hl=en&amp;safe=active" TargetMode="Externa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image" Target="../media/image46.png"/><Relationship Id="rId32" Type="http://schemas.openxmlformats.org/officeDocument/2006/relationships/image" Target="../media/image52.png"/><Relationship Id="rId37" Type="http://schemas.openxmlformats.org/officeDocument/2006/relationships/image" Target="../media/image55.jpeg"/><Relationship Id="rId40" Type="http://schemas.openxmlformats.org/officeDocument/2006/relationships/image" Target="../media/image57.png"/><Relationship Id="rId45" Type="http://schemas.openxmlformats.org/officeDocument/2006/relationships/image" Target="../media/image60.jpeg"/><Relationship Id="rId53" Type="http://schemas.openxmlformats.org/officeDocument/2006/relationships/image" Target="../media/image64.jpeg"/><Relationship Id="rId58" Type="http://schemas.openxmlformats.org/officeDocument/2006/relationships/image" Target="../media/image67.jpeg"/><Relationship Id="rId5" Type="http://schemas.openxmlformats.org/officeDocument/2006/relationships/tags" Target="../tags/tag4.xml"/><Relationship Id="rId15" Type="http://schemas.openxmlformats.org/officeDocument/2006/relationships/slideLayout" Target="../slideLayouts/slideLayout5.xml"/><Relationship Id="rId23" Type="http://schemas.openxmlformats.org/officeDocument/2006/relationships/image" Target="../media/image45.png"/><Relationship Id="rId28" Type="http://schemas.openxmlformats.org/officeDocument/2006/relationships/image" Target="../media/image49.png"/><Relationship Id="rId36" Type="http://schemas.openxmlformats.org/officeDocument/2006/relationships/hyperlink" Target="http://images.google.com/imgres?imgurl=http://worldsbestvacuums.com/images/dyson_logo2.jpg&amp;imgrefurl=http://worldsbestvacuums.com/Dyson-Bagless-Vacuum.html&amp;usg=__an___DvRcdnkAq9KUILXCtR6dVI=&amp;h=248&amp;w=600&amp;sz=35&amp;hl=en&amp;start=1&amp;um=1&amp;tbnid=BJuvKqKBknGaQM:&amp;tbnh=56&amp;tbnw=135&amp;prev=/images?q=dyson+logo'&amp;hl=en&amp;safe=active&amp;um=1" TargetMode="External"/><Relationship Id="rId49" Type="http://schemas.openxmlformats.org/officeDocument/2006/relationships/image" Target="../media/image62.jpeg"/><Relationship Id="rId57" Type="http://schemas.openxmlformats.org/officeDocument/2006/relationships/hyperlink" Target="http://images.google.com/imgres?imgurl=http://nazret.com/blog/media/blogs/new/wfp_logo.gif&amp;imgrefurl=http://nazret.com/blog/index.php?m=20080512&amp;usg=__6cJ2ab21RxQ7siIRu4F1IjY790M=&amp;h=200&amp;w=420&amp;sz=16&amp;hl=en&amp;start=16&amp;tbnid=iG4vR0SjfhOcmM:&amp;tbnh=60&amp;tbnw=125&amp;prev=/images?q=world+food+programme+logo&amp;gbv=2&amp;hl=en&amp;safe=active" TargetMode="External"/><Relationship Id="rId10" Type="http://schemas.openxmlformats.org/officeDocument/2006/relationships/tags" Target="../tags/tag9.xml"/><Relationship Id="rId19" Type="http://schemas.openxmlformats.org/officeDocument/2006/relationships/image" Target="../media/image42.jpeg"/><Relationship Id="rId31" Type="http://schemas.openxmlformats.org/officeDocument/2006/relationships/image" Target="../media/image51.png"/><Relationship Id="rId44" Type="http://schemas.openxmlformats.org/officeDocument/2006/relationships/hyperlink" Target="http://images.google.com/imgres?imgurl=http://www.pentagondivision.com/images/mil_US_Army.gif&amp;imgrefurl=http://www.pentagondivision.com/links/links.htm&amp;usg=__cCOTc69OEpD-Fln_sTpXcdnSyq8=&amp;h=360&amp;w=360&amp;sz=41&amp;hl=en&amp;start=4&amp;tbnid=hLC0IkgcOrpDNM:&amp;tbnh=121&amp;tbnw=121&amp;prev=/images?q=us+military+logo&amp;gbv=2&amp;hl=en&amp;safe=active" TargetMode="External"/><Relationship Id="rId52" Type="http://schemas.openxmlformats.org/officeDocument/2006/relationships/hyperlink" Target="http://images.google.com/imgres?imgurl=http://edspumps.com/UploadMediaFiles/image//DOW%20CHEMICAL%20LOGO%20-01.jpg&amp;imgrefurl=http://edspumps.com/watertreat_arsenic.asp&amp;usg=__YuxTuY1pPspaZFP1bnOEAUbVO18=&amp;h=485&amp;w=1259&amp;sz=136&amp;hl=en&amp;start=2&amp;tbnid=zLKWxUK5d8puBM:&amp;tbnh=58&amp;tbnw=150&amp;prev=/images?q=dow+chemical+logo&amp;gbv=2&amp;hl=en&amp;safe=active" TargetMode="Externa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hyperlink" Target="http://www.coopnorden.com/" TargetMode="External"/><Relationship Id="rId27" Type="http://schemas.openxmlformats.org/officeDocument/2006/relationships/image" Target="../media/image48.png"/><Relationship Id="rId30" Type="http://schemas.openxmlformats.org/officeDocument/2006/relationships/image" Target="../media/image50.jpeg"/><Relationship Id="rId35" Type="http://schemas.openxmlformats.org/officeDocument/2006/relationships/oleObject" Target="../embeddings/oleObject3.bin"/><Relationship Id="rId43" Type="http://schemas.openxmlformats.org/officeDocument/2006/relationships/image" Target="../media/image59.jpeg"/><Relationship Id="rId48" Type="http://schemas.openxmlformats.org/officeDocument/2006/relationships/hyperlink" Target="http://images.google.com/imgres?imgurl=http://www.safl.uct.ac.za/images/about_sasol/about_sasol.jpg&amp;imgrefurl=http://www.safl.uct.ac.za/aboutsasol/index.php&amp;usg=__m-m2wR2A-ouF7ZichPsQjBNlgj8=&amp;h=316&amp;w=200&amp;sz=12&amp;hl=en&amp;start=17&amp;tbnid=OGjO8d6TwW_oZM:&amp;tbnh=117&amp;tbnw=74&amp;prev=/images?q=sasol&amp;gbv=2&amp;hl=en&amp;safe=active" TargetMode="External"/><Relationship Id="rId56" Type="http://schemas.openxmlformats.org/officeDocument/2006/relationships/image" Target="../media/image66.png"/><Relationship Id="rId8" Type="http://schemas.openxmlformats.org/officeDocument/2006/relationships/tags" Target="../tags/tag7.xml"/><Relationship Id="rId51" Type="http://schemas.openxmlformats.org/officeDocument/2006/relationships/image" Target="../media/image63.jpeg"/><Relationship Id="rId3" Type="http://schemas.openxmlformats.org/officeDocument/2006/relationships/tags" Target="../tags/tag2.xml"/></Relationships>
</file>

<file path=ppt/slides/_rels/slide18.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18" Type="http://schemas.openxmlformats.org/officeDocument/2006/relationships/image" Target="../media/image84.png"/><Relationship Id="rId26" Type="http://schemas.openxmlformats.org/officeDocument/2006/relationships/image" Target="../media/image92.jpeg"/><Relationship Id="rId3" Type="http://schemas.openxmlformats.org/officeDocument/2006/relationships/image" Target="../media/image69.png"/><Relationship Id="rId21" Type="http://schemas.openxmlformats.org/officeDocument/2006/relationships/image" Target="../media/image87.png"/><Relationship Id="rId7" Type="http://schemas.openxmlformats.org/officeDocument/2006/relationships/image" Target="../media/image73.png"/><Relationship Id="rId12" Type="http://schemas.openxmlformats.org/officeDocument/2006/relationships/image" Target="../media/image78.png"/><Relationship Id="rId17" Type="http://schemas.openxmlformats.org/officeDocument/2006/relationships/image" Target="../media/image83.png"/><Relationship Id="rId25" Type="http://schemas.openxmlformats.org/officeDocument/2006/relationships/image" Target="../media/image91.jpeg"/><Relationship Id="rId2" Type="http://schemas.openxmlformats.org/officeDocument/2006/relationships/notesSlide" Target="../notesSlides/notesSlide15.xml"/><Relationship Id="rId16" Type="http://schemas.openxmlformats.org/officeDocument/2006/relationships/image" Target="../media/image82.png"/><Relationship Id="rId20" Type="http://schemas.openxmlformats.org/officeDocument/2006/relationships/image" Target="../media/image86.png"/><Relationship Id="rId29" Type="http://schemas.openxmlformats.org/officeDocument/2006/relationships/image" Target="../media/image95.png"/><Relationship Id="rId1" Type="http://schemas.openxmlformats.org/officeDocument/2006/relationships/slideLayout" Target="../slideLayouts/slideLayout5.xml"/><Relationship Id="rId6" Type="http://schemas.openxmlformats.org/officeDocument/2006/relationships/image" Target="../media/image72.png"/><Relationship Id="rId11" Type="http://schemas.openxmlformats.org/officeDocument/2006/relationships/image" Target="../media/image77.png"/><Relationship Id="rId24" Type="http://schemas.openxmlformats.org/officeDocument/2006/relationships/image" Target="../media/image90.png"/><Relationship Id="rId5" Type="http://schemas.openxmlformats.org/officeDocument/2006/relationships/image" Target="../media/image71.png"/><Relationship Id="rId15" Type="http://schemas.openxmlformats.org/officeDocument/2006/relationships/image" Target="../media/image81.png"/><Relationship Id="rId23" Type="http://schemas.openxmlformats.org/officeDocument/2006/relationships/image" Target="../media/image89.jpeg"/><Relationship Id="rId28" Type="http://schemas.openxmlformats.org/officeDocument/2006/relationships/image" Target="../media/image94.png"/><Relationship Id="rId10" Type="http://schemas.openxmlformats.org/officeDocument/2006/relationships/image" Target="../media/image76.png"/><Relationship Id="rId19" Type="http://schemas.openxmlformats.org/officeDocument/2006/relationships/image" Target="../media/image85.jpeg"/><Relationship Id="rId4" Type="http://schemas.openxmlformats.org/officeDocument/2006/relationships/image" Target="../media/image70.png"/><Relationship Id="rId9" Type="http://schemas.openxmlformats.org/officeDocument/2006/relationships/image" Target="../media/image75.png"/><Relationship Id="rId14" Type="http://schemas.openxmlformats.org/officeDocument/2006/relationships/image" Target="../media/image80.png"/><Relationship Id="rId22" Type="http://schemas.openxmlformats.org/officeDocument/2006/relationships/image" Target="../media/image88.jpeg"/><Relationship Id="rId27" Type="http://schemas.openxmlformats.org/officeDocument/2006/relationships/image" Target="../media/image9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jpeg"/><Relationship Id="rId3" Type="http://schemas.openxmlformats.org/officeDocument/2006/relationships/image" Target="../media/image19.jpeg"/><Relationship Id="rId7" Type="http://schemas.openxmlformats.org/officeDocument/2006/relationships/image" Target="../media/image23.png"/><Relationship Id="rId12" Type="http://schemas.openxmlformats.org/officeDocument/2006/relationships/image" Target="../media/image28.jpe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2.png"/><Relationship Id="rId11" Type="http://schemas.openxmlformats.org/officeDocument/2006/relationships/image" Target="../media/image27.jpeg"/><Relationship Id="rId5" Type="http://schemas.openxmlformats.org/officeDocument/2006/relationships/image" Target="../media/image21.jpeg"/><Relationship Id="rId10" Type="http://schemas.openxmlformats.org/officeDocument/2006/relationships/image" Target="../media/image26.jpeg"/><Relationship Id="rId4" Type="http://schemas.openxmlformats.org/officeDocument/2006/relationships/image" Target="../media/image20.png"/><Relationship Id="rId9" Type="http://schemas.openxmlformats.org/officeDocument/2006/relationships/image" Target="../media/image25.jpeg"/><Relationship Id="rId14" Type="http://schemas.openxmlformats.org/officeDocument/2006/relationships/image" Target="../media/image30.jpeg"/></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29.jpeg"/><Relationship Id="rId7"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4.jpeg"/><Relationship Id="rId5" Type="http://schemas.openxmlformats.org/officeDocument/2006/relationships/image" Target="../media/image28.jpeg"/><Relationship Id="rId10" Type="http://schemas.openxmlformats.org/officeDocument/2006/relationships/comments" Target="../comments/comment1.xml"/><Relationship Id="rId4" Type="http://schemas.openxmlformats.org/officeDocument/2006/relationships/image" Target="../media/image30.jpeg"/><Relationship Id="rId9"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468313" y="973138"/>
            <a:ext cx="6911975" cy="1439862"/>
          </a:xfrm>
        </p:spPr>
        <p:txBody>
          <a:bodyPr>
            <a:normAutofit/>
          </a:bodyPr>
          <a:lstStyle/>
          <a:p>
            <a:r>
              <a:rPr lang="en-US" dirty="0" smtClean="0">
                <a:solidFill>
                  <a:srgbClr val="00215B"/>
                </a:solidFill>
                <a:ea typeface="ＭＳ Ｐゴシック" pitchFamily="34" charset="-128"/>
              </a:rPr>
              <a:t>DAMCO </a:t>
            </a:r>
            <a:br>
              <a:rPr lang="en-US" dirty="0" smtClean="0">
                <a:solidFill>
                  <a:srgbClr val="00215B"/>
                </a:solidFill>
                <a:ea typeface="ＭＳ Ｐゴシック" pitchFamily="34" charset="-128"/>
              </a:rPr>
            </a:br>
            <a:r>
              <a:rPr lang="en-US" b="1" dirty="0" smtClean="0">
                <a:solidFill>
                  <a:srgbClr val="00215B"/>
                </a:solidFill>
                <a:ea typeface="ＭＳ Ｐゴシック" pitchFamily="34" charset="-128"/>
              </a:rPr>
              <a:t>FRESH PRODUCE </a:t>
            </a:r>
            <a:r>
              <a:rPr lang="en-US" dirty="0" smtClean="0">
                <a:solidFill>
                  <a:srgbClr val="00215B"/>
                </a:solidFill>
                <a:ea typeface="ＭＳ Ｐゴシック" pitchFamily="34" charset="-128"/>
              </a:rPr>
              <a:t/>
            </a:r>
            <a:br>
              <a:rPr lang="en-US" dirty="0" smtClean="0">
                <a:solidFill>
                  <a:srgbClr val="00215B"/>
                </a:solidFill>
                <a:ea typeface="ＭＳ Ｐゴシック" pitchFamily="34" charset="-128"/>
              </a:rPr>
            </a:br>
            <a:r>
              <a:rPr lang="en-US" dirty="0" smtClean="0">
                <a:solidFill>
                  <a:srgbClr val="00215B"/>
                </a:solidFill>
                <a:ea typeface="ＭＳ Ｐゴシック" pitchFamily="34" charset="-128"/>
              </a:rPr>
              <a:t>DIRECT</a:t>
            </a:r>
          </a:p>
        </p:txBody>
      </p:sp>
      <p:sp>
        <p:nvSpPr>
          <p:cNvPr id="6" name="Subtitle 5"/>
          <p:cNvSpPr>
            <a:spLocks noGrp="1"/>
          </p:cNvSpPr>
          <p:nvPr>
            <p:ph type="subTitle" idx="1"/>
          </p:nvPr>
        </p:nvSpPr>
        <p:spPr>
          <a:xfrm>
            <a:off x="468313" y="2484438"/>
            <a:ext cx="6911975" cy="792162"/>
          </a:xfrm>
        </p:spPr>
        <p:txBody>
          <a:bodyPr>
            <a:normAutofit/>
          </a:bodyPr>
          <a:lstStyle/>
          <a:p>
            <a:r>
              <a:rPr lang="es-CR" sz="1600" dirty="0" smtClean="0">
                <a:solidFill>
                  <a:srgbClr val="595959"/>
                </a:solidFill>
                <a:ea typeface="ＭＳ Ｐゴシック" pitchFamily="34" charset="-128"/>
              </a:rPr>
              <a:t>Soluciones integradas de Logistica Refrigerada de Puerta a Puerta a nivel global.</a:t>
            </a:r>
          </a:p>
        </p:txBody>
      </p:sp>
    </p:spTree>
  </p:cSld>
  <p:clrMapOvr>
    <a:masterClrMapping/>
  </p:clrMapOvr>
  <p:transition advClick="0" advTm="300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13" descr="_MG_2276.jpg"/>
          <p:cNvPicPr>
            <a:picLocks noChangeAspect="1"/>
          </p:cNvPicPr>
          <p:nvPr/>
        </p:nvPicPr>
        <p:blipFill>
          <a:blip r:embed="rId3" cstate="print"/>
          <a:srcRect l="10001" t="3751" b="22501"/>
          <a:stretch>
            <a:fillRect/>
          </a:stretch>
        </p:blipFill>
        <p:spPr bwMode="auto">
          <a:xfrm>
            <a:off x="357158" y="1714488"/>
            <a:ext cx="8229600" cy="4495800"/>
          </a:xfrm>
          <a:prstGeom prst="rect">
            <a:avLst/>
          </a:prstGeom>
          <a:noFill/>
          <a:ln w="9525">
            <a:noFill/>
            <a:miter lim="800000"/>
            <a:headEnd/>
            <a:tailEnd/>
          </a:ln>
        </p:spPr>
      </p:pic>
      <p:sp>
        <p:nvSpPr>
          <p:cNvPr id="23555" name="Title 39"/>
          <p:cNvSpPr>
            <a:spLocks noGrp="1"/>
          </p:cNvSpPr>
          <p:nvPr>
            <p:ph type="title"/>
          </p:nvPr>
        </p:nvSpPr>
        <p:spPr>
          <a:xfrm>
            <a:off x="457200" y="274638"/>
            <a:ext cx="8686800" cy="993775"/>
          </a:xfrm>
        </p:spPr>
        <p:txBody>
          <a:bodyPr/>
          <a:lstStyle/>
          <a:p>
            <a:r>
              <a:rPr lang="es-CR" sz="2400" dirty="0" smtClean="0">
                <a:ea typeface="ＭＳ Ｐゴシック" pitchFamily="34" charset="-128"/>
              </a:rPr>
              <a:t>Damco provee todos los componentes necesarios para asegurar la Logistica mas eficiente puerta a puerta</a:t>
            </a:r>
          </a:p>
        </p:txBody>
      </p:sp>
      <p:grpSp>
        <p:nvGrpSpPr>
          <p:cNvPr id="23556" name="Group 15"/>
          <p:cNvGrpSpPr>
            <a:grpSpLocks/>
          </p:cNvGrpSpPr>
          <p:nvPr/>
        </p:nvGrpSpPr>
        <p:grpSpPr bwMode="auto">
          <a:xfrm>
            <a:off x="596900" y="4651375"/>
            <a:ext cx="7924800" cy="1330325"/>
            <a:chOff x="446088" y="3886200"/>
            <a:chExt cx="8166100" cy="1371600"/>
          </a:xfrm>
        </p:grpSpPr>
        <p:sp>
          <p:nvSpPr>
            <p:cNvPr id="50" name="Rounded Rectangle 49"/>
            <p:cNvSpPr/>
            <p:nvPr/>
          </p:nvSpPr>
          <p:spPr bwMode="auto">
            <a:xfrm>
              <a:off x="446088" y="3886200"/>
              <a:ext cx="8166100" cy="1371600"/>
            </a:xfrm>
            <a:prstGeom prst="roundRect">
              <a:avLst>
                <a:gd name="adj" fmla="val 5370"/>
              </a:avLst>
            </a:prstGeom>
            <a:solidFill>
              <a:schemeClr val="bg1">
                <a:lumMod val="85000"/>
              </a:schemeClr>
            </a:solidFill>
            <a:ln w="9525" cap="flat" cmpd="sng" algn="ctr">
              <a:noFill/>
              <a:prstDash val="solid"/>
              <a:round/>
              <a:headEnd type="none" w="med" len="med"/>
              <a:tailEnd type="none" w="med" len="med"/>
            </a:ln>
            <a:effectLst/>
          </p:spPr>
          <p:txBody>
            <a:bodyPr lIns="90000" tIns="46800" rIns="90000" bIns="46800" anchor="ctr"/>
            <a:lstStyle/>
            <a:p>
              <a:pPr algn="ctr">
                <a:defRPr/>
              </a:pPr>
              <a:endParaRPr lang="en-US" sz="2000" b="1" dirty="0" err="1">
                <a:solidFill>
                  <a:schemeClr val="bg1"/>
                </a:solidFill>
                <a:latin typeface="Verdana" pitchFamily="34" charset="0"/>
                <a:ea typeface="Arial" charset="0"/>
              </a:endParaRPr>
            </a:p>
          </p:txBody>
        </p:sp>
        <p:sp>
          <p:nvSpPr>
            <p:cNvPr id="46" name="Rounded Rectangle 45"/>
            <p:cNvSpPr/>
            <p:nvPr/>
          </p:nvSpPr>
          <p:spPr bwMode="auto">
            <a:xfrm>
              <a:off x="573088" y="3962400"/>
              <a:ext cx="7962900" cy="571500"/>
            </a:xfrm>
            <a:prstGeom prst="roundRect">
              <a:avLst>
                <a:gd name="adj" fmla="val 10000"/>
              </a:avLst>
            </a:prstGeom>
            <a:gradFill flip="none" rotWithShape="1">
              <a:gsLst>
                <a:gs pos="0">
                  <a:schemeClr val="bg1">
                    <a:lumMod val="50000"/>
                  </a:schemeClr>
                </a:gs>
                <a:gs pos="100000">
                  <a:schemeClr val="bg1">
                    <a:lumMod val="65000"/>
                  </a:schemeClr>
                </a:gs>
              </a:gsLst>
              <a:path path="circle">
                <a:fillToRect t="100000" r="100000"/>
              </a:path>
              <a:tileRect l="-100000" b="-100000"/>
            </a:gradFill>
            <a:ln w="9525" cap="flat" cmpd="sng" algn="ctr">
              <a:noFill/>
              <a:prstDash val="solid"/>
              <a:round/>
              <a:headEnd type="none" w="med" len="med"/>
              <a:tailEnd type="none" w="med" len="med"/>
            </a:ln>
            <a:effectLst/>
          </p:spPr>
          <p:txBody>
            <a:bodyPr lIns="90000" tIns="46800" rIns="90000" bIns="46800" anchor="b"/>
            <a:lstStyle/>
            <a:p>
              <a:pPr>
                <a:defRPr/>
              </a:pPr>
              <a:r>
                <a:rPr lang="es-CR" sz="1000" b="1" cap="all" dirty="0" smtClean="0">
                  <a:solidFill>
                    <a:schemeClr val="bg1"/>
                  </a:solidFill>
                  <a:latin typeface="Arial"/>
                  <a:ea typeface="Arial" charset="0"/>
                  <a:cs typeface="Arial"/>
                </a:rPr>
                <a:t>Desarrollo de la cadena de suministro</a:t>
              </a:r>
            </a:p>
            <a:p>
              <a:pPr>
                <a:defRPr/>
              </a:pPr>
              <a:r>
                <a:rPr lang="es-CR" sz="1000" b="1" cap="all" dirty="0" smtClean="0">
                  <a:solidFill>
                    <a:schemeClr val="bg1"/>
                  </a:solidFill>
                  <a:latin typeface="Arial"/>
                  <a:ea typeface="Arial" charset="0"/>
                  <a:cs typeface="Arial"/>
                </a:rPr>
                <a:t>Administración de la cadena de suministro</a:t>
              </a:r>
            </a:p>
            <a:p>
              <a:pPr>
                <a:defRPr/>
              </a:pPr>
              <a:r>
                <a:rPr lang="es-CR" sz="1000" b="1" cap="all" dirty="0" smtClean="0">
                  <a:solidFill>
                    <a:schemeClr val="bg1"/>
                  </a:solidFill>
                  <a:latin typeface="Arial"/>
                  <a:ea typeface="Arial" charset="0"/>
                  <a:cs typeface="Arial"/>
                </a:rPr>
                <a:t>Visibilidad</a:t>
              </a:r>
              <a:endParaRPr lang="es-CR" sz="1000" b="1" cap="all" dirty="0">
                <a:solidFill>
                  <a:schemeClr val="bg1"/>
                </a:solidFill>
                <a:latin typeface="Arial"/>
                <a:ea typeface="Arial" charset="0"/>
                <a:cs typeface="Arial"/>
              </a:endParaRPr>
            </a:p>
          </p:txBody>
        </p:sp>
        <p:sp>
          <p:nvSpPr>
            <p:cNvPr id="47" name="Rounded Rectangle 46"/>
            <p:cNvSpPr/>
            <p:nvPr/>
          </p:nvSpPr>
          <p:spPr bwMode="auto">
            <a:xfrm>
              <a:off x="573088" y="4610100"/>
              <a:ext cx="2578100" cy="571500"/>
            </a:xfrm>
            <a:prstGeom prst="roundRect">
              <a:avLst>
                <a:gd name="adj" fmla="val 10000"/>
              </a:avLst>
            </a:prstGeom>
            <a:gradFill flip="none" rotWithShape="1">
              <a:gsLst>
                <a:gs pos="0">
                  <a:schemeClr val="accent1"/>
                </a:gs>
                <a:gs pos="100000">
                  <a:schemeClr val="accent1">
                    <a:lumMod val="75000"/>
                  </a:schemeClr>
                </a:gs>
              </a:gsLst>
              <a:path path="circle">
                <a:fillToRect l="100000" t="100000"/>
              </a:path>
              <a:tileRect r="-100000" b="-100000"/>
            </a:gradFill>
            <a:ln w="9525" cap="flat" cmpd="sng" algn="ctr">
              <a:noFill/>
              <a:prstDash val="solid"/>
              <a:round/>
              <a:headEnd type="none" w="med" len="med"/>
              <a:tailEnd type="none" w="med" len="med"/>
            </a:ln>
            <a:effectLst/>
          </p:spPr>
          <p:txBody>
            <a:bodyPr lIns="90000" tIns="46800" rIns="90000" bIns="46800" anchor="b"/>
            <a:lstStyle/>
            <a:p>
              <a:pPr>
                <a:defRPr/>
              </a:pPr>
              <a:r>
                <a:rPr lang="en-US" sz="1000" b="1" cap="all" dirty="0" smtClean="0">
                  <a:solidFill>
                    <a:schemeClr val="bg1"/>
                  </a:solidFill>
                  <a:latin typeface="Arial"/>
                  <a:ea typeface="Arial" charset="0"/>
                  <a:cs typeface="Arial"/>
                </a:rPr>
                <a:t>Origin</a:t>
              </a:r>
            </a:p>
            <a:p>
              <a:pPr>
                <a:defRPr/>
              </a:pPr>
              <a:r>
                <a:rPr lang="en-US" sz="1000" b="1" cap="all" dirty="0" smtClean="0">
                  <a:solidFill>
                    <a:schemeClr val="bg1"/>
                  </a:solidFill>
                  <a:latin typeface="Arial"/>
                  <a:ea typeface="Arial" charset="0"/>
                  <a:cs typeface="Arial"/>
                </a:rPr>
                <a:t>Services</a:t>
              </a:r>
              <a:endParaRPr lang="en-US" sz="1000" b="1" cap="all" dirty="0">
                <a:solidFill>
                  <a:schemeClr val="bg1"/>
                </a:solidFill>
                <a:latin typeface="Arial"/>
                <a:ea typeface="Arial" charset="0"/>
                <a:cs typeface="Arial"/>
              </a:endParaRPr>
            </a:p>
          </p:txBody>
        </p:sp>
        <p:sp>
          <p:nvSpPr>
            <p:cNvPr id="48" name="Rounded Rectangle 47"/>
            <p:cNvSpPr/>
            <p:nvPr/>
          </p:nvSpPr>
          <p:spPr bwMode="auto">
            <a:xfrm>
              <a:off x="3265488" y="4610100"/>
              <a:ext cx="2578100" cy="571500"/>
            </a:xfrm>
            <a:prstGeom prst="roundRect">
              <a:avLst>
                <a:gd name="adj" fmla="val 10000"/>
              </a:avLst>
            </a:prstGeom>
            <a:gradFill flip="none" rotWithShape="1">
              <a:gsLst>
                <a:gs pos="0">
                  <a:schemeClr val="accent2"/>
                </a:gs>
                <a:gs pos="100000">
                  <a:schemeClr val="accent2">
                    <a:lumMod val="75000"/>
                  </a:schemeClr>
                </a:gs>
              </a:gsLst>
              <a:path path="circle">
                <a:fillToRect l="100000" t="100000"/>
              </a:path>
              <a:tileRect r="-100000" b="-100000"/>
            </a:gradFill>
            <a:ln w="9525" cap="flat" cmpd="sng" algn="ctr">
              <a:noFill/>
              <a:prstDash val="solid"/>
              <a:round/>
              <a:headEnd type="none" w="med" len="med"/>
              <a:tailEnd type="none" w="med" len="med"/>
            </a:ln>
            <a:effectLst/>
          </p:spPr>
          <p:txBody>
            <a:bodyPr lIns="90000" tIns="46800" rIns="90000" bIns="46800" anchor="b"/>
            <a:lstStyle/>
            <a:p>
              <a:pPr>
                <a:defRPr/>
              </a:pPr>
              <a:r>
                <a:rPr lang="en-US" sz="1000" b="1" cap="all" dirty="0">
                  <a:solidFill>
                    <a:schemeClr val="bg1"/>
                  </a:solidFill>
                  <a:latin typeface="Arial"/>
                  <a:ea typeface="Arial" charset="0"/>
                  <a:cs typeface="Arial"/>
                </a:rPr>
                <a:t>Transport</a:t>
              </a:r>
            </a:p>
            <a:p>
              <a:pPr>
                <a:defRPr/>
              </a:pPr>
              <a:r>
                <a:rPr lang="en-US" sz="1000" b="1" cap="all" dirty="0">
                  <a:solidFill>
                    <a:schemeClr val="bg1"/>
                  </a:solidFill>
                  <a:latin typeface="Arial"/>
                  <a:ea typeface="Arial" charset="0"/>
                  <a:cs typeface="Arial"/>
                </a:rPr>
                <a:t>Services</a:t>
              </a:r>
            </a:p>
          </p:txBody>
        </p:sp>
        <p:sp>
          <p:nvSpPr>
            <p:cNvPr id="49" name="Rounded Rectangle 48"/>
            <p:cNvSpPr/>
            <p:nvPr/>
          </p:nvSpPr>
          <p:spPr bwMode="auto">
            <a:xfrm>
              <a:off x="5945188" y="4610100"/>
              <a:ext cx="2578100" cy="571500"/>
            </a:xfrm>
            <a:prstGeom prst="roundRect">
              <a:avLst>
                <a:gd name="adj" fmla="val 10000"/>
              </a:avLst>
            </a:prstGeom>
            <a:gradFill flip="none" rotWithShape="1">
              <a:gsLst>
                <a:gs pos="0">
                  <a:schemeClr val="accent3">
                    <a:lumMod val="75000"/>
                  </a:schemeClr>
                </a:gs>
                <a:gs pos="100000">
                  <a:schemeClr val="accent3"/>
                </a:gs>
              </a:gsLst>
              <a:path path="circle">
                <a:fillToRect t="100000" r="100000"/>
              </a:path>
              <a:tileRect l="-100000" b="-100000"/>
            </a:gradFill>
            <a:ln w="9525" cap="flat" cmpd="sng" algn="ctr">
              <a:noFill/>
              <a:prstDash val="solid"/>
              <a:round/>
              <a:headEnd type="none" w="med" len="med"/>
              <a:tailEnd type="none" w="med" len="med"/>
            </a:ln>
            <a:effectLst/>
          </p:spPr>
          <p:txBody>
            <a:bodyPr lIns="90000" tIns="46800" rIns="90000" bIns="46800" anchor="b"/>
            <a:lstStyle/>
            <a:p>
              <a:pPr>
                <a:defRPr/>
              </a:pPr>
              <a:r>
                <a:rPr lang="en-US" sz="1000" b="1" cap="all" dirty="0">
                  <a:solidFill>
                    <a:schemeClr val="bg1"/>
                  </a:solidFill>
                  <a:latin typeface="Arial"/>
                  <a:ea typeface="Arial" charset="0"/>
                  <a:cs typeface="Arial"/>
                </a:rPr>
                <a:t>Destination</a:t>
              </a:r>
            </a:p>
            <a:p>
              <a:pPr>
                <a:defRPr/>
              </a:pPr>
              <a:r>
                <a:rPr lang="en-US" sz="1000" b="1" cap="all" dirty="0">
                  <a:solidFill>
                    <a:schemeClr val="bg1"/>
                  </a:solidFill>
                  <a:latin typeface="Arial"/>
                  <a:ea typeface="Arial" charset="0"/>
                  <a:cs typeface="Arial"/>
                </a:rPr>
                <a:t>Services</a:t>
              </a:r>
            </a:p>
          </p:txBody>
        </p:sp>
        <p:sp>
          <p:nvSpPr>
            <p:cNvPr id="23571" name="TextBox 50"/>
            <p:cNvSpPr txBox="1">
              <a:spLocks noChangeArrowheads="1"/>
            </p:cNvSpPr>
            <p:nvPr/>
          </p:nvSpPr>
          <p:spPr bwMode="auto">
            <a:xfrm>
              <a:off x="5322887" y="4775200"/>
              <a:ext cx="508000" cy="412293"/>
            </a:xfrm>
            <a:prstGeom prst="rect">
              <a:avLst/>
            </a:prstGeom>
            <a:noFill/>
            <a:ln w="9525">
              <a:noFill/>
              <a:miter lim="800000"/>
              <a:headEnd/>
              <a:tailEnd/>
            </a:ln>
          </p:spPr>
          <p:txBody>
            <a:bodyPr>
              <a:spAutoFit/>
            </a:bodyPr>
            <a:lstStyle/>
            <a:p>
              <a:r>
                <a:rPr lang="en-US" sz="2000" b="1">
                  <a:solidFill>
                    <a:schemeClr val="bg1"/>
                  </a:solidFill>
                  <a:latin typeface="Wingdings" pitchFamily="2" charset="2"/>
                </a:rPr>
                <a:t></a:t>
              </a:r>
              <a:endParaRPr lang="en-US" sz="2000" b="1">
                <a:solidFill>
                  <a:schemeClr val="bg1"/>
                </a:solidFill>
              </a:endParaRPr>
            </a:p>
          </p:txBody>
        </p:sp>
        <p:sp>
          <p:nvSpPr>
            <p:cNvPr id="23572" name="TextBox 51"/>
            <p:cNvSpPr txBox="1">
              <a:spLocks noChangeArrowheads="1"/>
            </p:cNvSpPr>
            <p:nvPr/>
          </p:nvSpPr>
          <p:spPr bwMode="auto">
            <a:xfrm>
              <a:off x="8015288" y="4775200"/>
              <a:ext cx="508000" cy="412293"/>
            </a:xfrm>
            <a:prstGeom prst="rect">
              <a:avLst/>
            </a:prstGeom>
            <a:noFill/>
            <a:ln w="9525">
              <a:noFill/>
              <a:miter lim="800000"/>
              <a:headEnd/>
              <a:tailEnd/>
            </a:ln>
          </p:spPr>
          <p:txBody>
            <a:bodyPr>
              <a:spAutoFit/>
            </a:bodyPr>
            <a:lstStyle/>
            <a:p>
              <a:r>
                <a:rPr lang="en-US" sz="2000" b="1">
                  <a:solidFill>
                    <a:schemeClr val="bg1"/>
                  </a:solidFill>
                  <a:latin typeface="Wingdings" pitchFamily="2" charset="2"/>
                </a:rPr>
                <a:t></a:t>
              </a:r>
              <a:endParaRPr lang="en-US" sz="2000" b="1">
                <a:solidFill>
                  <a:schemeClr val="bg1"/>
                </a:solidFill>
              </a:endParaRPr>
            </a:p>
          </p:txBody>
        </p:sp>
        <p:sp>
          <p:nvSpPr>
            <p:cNvPr id="23573" name="TextBox 52"/>
            <p:cNvSpPr txBox="1">
              <a:spLocks noChangeArrowheads="1"/>
            </p:cNvSpPr>
            <p:nvPr/>
          </p:nvSpPr>
          <p:spPr bwMode="auto">
            <a:xfrm>
              <a:off x="8027988" y="4127500"/>
              <a:ext cx="508000" cy="412293"/>
            </a:xfrm>
            <a:prstGeom prst="rect">
              <a:avLst/>
            </a:prstGeom>
            <a:noFill/>
            <a:ln w="9525">
              <a:noFill/>
              <a:miter lim="800000"/>
              <a:headEnd/>
              <a:tailEnd/>
            </a:ln>
          </p:spPr>
          <p:txBody>
            <a:bodyPr>
              <a:spAutoFit/>
            </a:bodyPr>
            <a:lstStyle/>
            <a:p>
              <a:r>
                <a:rPr lang="en-US" sz="2000" b="1">
                  <a:solidFill>
                    <a:schemeClr val="bg1"/>
                  </a:solidFill>
                  <a:latin typeface="Wingdings" pitchFamily="2" charset="2"/>
                </a:rPr>
                <a:t></a:t>
              </a:r>
              <a:endParaRPr lang="en-US" sz="2000" b="1">
                <a:solidFill>
                  <a:schemeClr val="bg1"/>
                </a:solidFill>
              </a:endParaRPr>
            </a:p>
          </p:txBody>
        </p:sp>
        <p:sp>
          <p:nvSpPr>
            <p:cNvPr id="23574" name="TextBox 53"/>
            <p:cNvSpPr txBox="1">
              <a:spLocks noChangeArrowheads="1"/>
            </p:cNvSpPr>
            <p:nvPr/>
          </p:nvSpPr>
          <p:spPr bwMode="auto">
            <a:xfrm>
              <a:off x="2630488" y="4775200"/>
              <a:ext cx="508000" cy="412293"/>
            </a:xfrm>
            <a:prstGeom prst="rect">
              <a:avLst/>
            </a:prstGeom>
            <a:noFill/>
            <a:ln w="9525">
              <a:noFill/>
              <a:miter lim="800000"/>
              <a:headEnd/>
              <a:tailEnd/>
            </a:ln>
          </p:spPr>
          <p:txBody>
            <a:bodyPr>
              <a:spAutoFit/>
            </a:bodyPr>
            <a:lstStyle/>
            <a:p>
              <a:r>
                <a:rPr lang="en-US" sz="2000" b="1">
                  <a:solidFill>
                    <a:schemeClr val="bg1"/>
                  </a:solidFill>
                  <a:latin typeface="Wingdings" pitchFamily="2" charset="2"/>
                </a:rPr>
                <a:t></a:t>
              </a:r>
              <a:endParaRPr lang="en-US" sz="2000" b="1">
                <a:solidFill>
                  <a:schemeClr val="bg1"/>
                </a:solidFill>
              </a:endParaRPr>
            </a:p>
          </p:txBody>
        </p:sp>
      </p:grpSp>
      <p:sp>
        <p:nvSpPr>
          <p:cNvPr id="15" name="Kombinationstegning 9"/>
          <p:cNvSpPr/>
          <p:nvPr/>
        </p:nvSpPr>
        <p:spPr bwMode="white">
          <a:xfrm>
            <a:off x="101600" y="5864225"/>
            <a:ext cx="584200" cy="574675"/>
          </a:xfrm>
          <a:custGeom>
            <a:avLst/>
            <a:gdLst>
              <a:gd name="connsiteX0" fmla="*/ 0 w 1368152"/>
              <a:gd name="connsiteY0" fmla="*/ 228030 h 1368152"/>
              <a:gd name="connsiteX1" fmla="*/ 228030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8" fmla="*/ 0 w 1368152"/>
              <a:gd name="connsiteY8" fmla="*/ 228030 h 1368152"/>
              <a:gd name="connsiteX0" fmla="*/ 0 w 1368152"/>
              <a:gd name="connsiteY0" fmla="*/ 1140122 h 1368152"/>
              <a:gd name="connsiteX1" fmla="*/ 228030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0" fmla="*/ 0 w 1368152"/>
              <a:gd name="connsiteY0" fmla="*/ 1140122 h 1368152"/>
              <a:gd name="connsiteX1" fmla="*/ 792088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0" fmla="*/ 58006 w 1198128"/>
              <a:gd name="connsiteY0" fmla="*/ 1368152 h 1368152"/>
              <a:gd name="connsiteX1" fmla="*/ 622064 w 1198128"/>
              <a:gd name="connsiteY1" fmla="*/ 0 h 1368152"/>
              <a:gd name="connsiteX2" fmla="*/ 970098 w 1198128"/>
              <a:gd name="connsiteY2" fmla="*/ 0 h 1368152"/>
              <a:gd name="connsiteX3" fmla="*/ 1198128 w 1198128"/>
              <a:gd name="connsiteY3" fmla="*/ 228030 h 1368152"/>
              <a:gd name="connsiteX4" fmla="*/ 1198128 w 1198128"/>
              <a:gd name="connsiteY4" fmla="*/ 1140122 h 1368152"/>
              <a:gd name="connsiteX5" fmla="*/ 970098 w 1198128"/>
              <a:gd name="connsiteY5" fmla="*/ 1368152 h 1368152"/>
              <a:gd name="connsiteX6" fmla="*/ 58006 w 1198128"/>
              <a:gd name="connsiteY6" fmla="*/ 1368152 h 1368152"/>
              <a:gd name="connsiteX0" fmla="*/ 348034 w 576064"/>
              <a:gd name="connsiteY0" fmla="*/ 1368152 h 1368152"/>
              <a:gd name="connsiteX1" fmla="*/ 0 w 576064"/>
              <a:gd name="connsiteY1" fmla="*/ 0 h 1368152"/>
              <a:gd name="connsiteX2" fmla="*/ 348034 w 576064"/>
              <a:gd name="connsiteY2" fmla="*/ 0 h 1368152"/>
              <a:gd name="connsiteX3" fmla="*/ 576064 w 576064"/>
              <a:gd name="connsiteY3" fmla="*/ 228030 h 1368152"/>
              <a:gd name="connsiteX4" fmla="*/ 576064 w 576064"/>
              <a:gd name="connsiteY4" fmla="*/ 1140122 h 1368152"/>
              <a:gd name="connsiteX5" fmla="*/ 348034 w 576064"/>
              <a:gd name="connsiteY5" fmla="*/ 1368152 h 1368152"/>
              <a:gd name="connsiteX0" fmla="*/ 348034 w 576064"/>
              <a:gd name="connsiteY0" fmla="*/ 1368152 h 1368152"/>
              <a:gd name="connsiteX1" fmla="*/ 0 w 576064"/>
              <a:gd name="connsiteY1" fmla="*/ 0 h 1368152"/>
              <a:gd name="connsiteX2" fmla="*/ 348034 w 576064"/>
              <a:gd name="connsiteY2" fmla="*/ 0 h 1368152"/>
              <a:gd name="connsiteX3" fmla="*/ 576064 w 576064"/>
              <a:gd name="connsiteY3" fmla="*/ 228030 h 1368152"/>
              <a:gd name="connsiteX4" fmla="*/ 576064 w 576064"/>
              <a:gd name="connsiteY4" fmla="*/ 576064 h 1368152"/>
              <a:gd name="connsiteX5" fmla="*/ 348034 w 576064"/>
              <a:gd name="connsiteY5" fmla="*/ 1368152 h 1368152"/>
              <a:gd name="connsiteX0" fmla="*/ 0 w 576064"/>
              <a:gd name="connsiteY0" fmla="*/ 648072 h 648072"/>
              <a:gd name="connsiteX1" fmla="*/ 0 w 576064"/>
              <a:gd name="connsiteY1" fmla="*/ 0 h 648072"/>
              <a:gd name="connsiteX2" fmla="*/ 348034 w 576064"/>
              <a:gd name="connsiteY2" fmla="*/ 0 h 648072"/>
              <a:gd name="connsiteX3" fmla="*/ 576064 w 576064"/>
              <a:gd name="connsiteY3" fmla="*/ 228030 h 648072"/>
              <a:gd name="connsiteX4" fmla="*/ 576064 w 576064"/>
              <a:gd name="connsiteY4" fmla="*/ 576064 h 648072"/>
              <a:gd name="connsiteX5" fmla="*/ 0 w 576064"/>
              <a:gd name="connsiteY5" fmla="*/ 648072 h 648072"/>
              <a:gd name="connsiteX0" fmla="*/ 1182 w 577246"/>
              <a:gd name="connsiteY0" fmla="*/ 648072 h 665362"/>
              <a:gd name="connsiteX1" fmla="*/ 1182 w 577246"/>
              <a:gd name="connsiteY1" fmla="*/ 0 h 665362"/>
              <a:gd name="connsiteX2" fmla="*/ 349216 w 577246"/>
              <a:gd name="connsiteY2" fmla="*/ 0 h 665362"/>
              <a:gd name="connsiteX3" fmla="*/ 577246 w 577246"/>
              <a:gd name="connsiteY3" fmla="*/ 228030 h 665362"/>
              <a:gd name="connsiteX4" fmla="*/ 577246 w 577246"/>
              <a:gd name="connsiteY4" fmla="*/ 576064 h 665362"/>
              <a:gd name="connsiteX5" fmla="*/ 1182 w 577246"/>
              <a:gd name="connsiteY5" fmla="*/ 648072 h 665362"/>
              <a:gd name="connsiteX0" fmla="*/ 1182 w 577246"/>
              <a:gd name="connsiteY0" fmla="*/ 648072 h 665362"/>
              <a:gd name="connsiteX1" fmla="*/ 1182 w 577246"/>
              <a:gd name="connsiteY1" fmla="*/ 0 h 665362"/>
              <a:gd name="connsiteX2" fmla="*/ 349216 w 577246"/>
              <a:gd name="connsiteY2" fmla="*/ 0 h 665362"/>
              <a:gd name="connsiteX3" fmla="*/ 577246 w 577246"/>
              <a:gd name="connsiteY3" fmla="*/ 228030 h 665362"/>
              <a:gd name="connsiteX4" fmla="*/ 577246 w 577246"/>
              <a:gd name="connsiteY4" fmla="*/ 576064 h 665362"/>
              <a:gd name="connsiteX5" fmla="*/ 1182 w 577246"/>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1182 w 1081302"/>
              <a:gd name="connsiteY0" fmla="*/ 576064 h 593354"/>
              <a:gd name="connsiteX1" fmla="*/ 505238 w 1081302"/>
              <a:gd name="connsiteY1" fmla="*/ 0 h 593354"/>
              <a:gd name="connsiteX2" fmla="*/ 853272 w 1081302"/>
              <a:gd name="connsiteY2" fmla="*/ 0 h 593354"/>
              <a:gd name="connsiteX3" fmla="*/ 1081302 w 1081302"/>
              <a:gd name="connsiteY3" fmla="*/ 228030 h 593354"/>
              <a:gd name="connsiteX4" fmla="*/ 1081302 w 1081302"/>
              <a:gd name="connsiteY4" fmla="*/ 576064 h 593354"/>
              <a:gd name="connsiteX5" fmla="*/ 1182 w 1081302"/>
              <a:gd name="connsiteY5" fmla="*/ 576064 h 593354"/>
              <a:gd name="connsiteX0" fmla="*/ 1182 w 649254"/>
              <a:gd name="connsiteY0" fmla="*/ 936104 h 953394"/>
              <a:gd name="connsiteX1" fmla="*/ 73190 w 649254"/>
              <a:gd name="connsiteY1" fmla="*/ 0 h 953394"/>
              <a:gd name="connsiteX2" fmla="*/ 421224 w 649254"/>
              <a:gd name="connsiteY2" fmla="*/ 0 h 953394"/>
              <a:gd name="connsiteX3" fmla="*/ 649254 w 649254"/>
              <a:gd name="connsiteY3" fmla="*/ 228030 h 953394"/>
              <a:gd name="connsiteX4" fmla="*/ 649254 w 649254"/>
              <a:gd name="connsiteY4" fmla="*/ 576064 h 953394"/>
              <a:gd name="connsiteX5" fmla="*/ 1182 w 649254"/>
              <a:gd name="connsiteY5" fmla="*/ 936104 h 953394"/>
              <a:gd name="connsiteX0" fmla="*/ 1182 w 865278"/>
              <a:gd name="connsiteY0" fmla="*/ 792088 h 809378"/>
              <a:gd name="connsiteX1" fmla="*/ 289214 w 865278"/>
              <a:gd name="connsiteY1" fmla="*/ 0 h 809378"/>
              <a:gd name="connsiteX2" fmla="*/ 637248 w 865278"/>
              <a:gd name="connsiteY2" fmla="*/ 0 h 809378"/>
              <a:gd name="connsiteX3" fmla="*/ 865278 w 865278"/>
              <a:gd name="connsiteY3" fmla="*/ 228030 h 809378"/>
              <a:gd name="connsiteX4" fmla="*/ 865278 w 865278"/>
              <a:gd name="connsiteY4" fmla="*/ 576064 h 809378"/>
              <a:gd name="connsiteX5" fmla="*/ 1182 w 865278"/>
              <a:gd name="connsiteY5" fmla="*/ 792088 h 809378"/>
              <a:gd name="connsiteX0" fmla="*/ 0 w 864096"/>
              <a:gd name="connsiteY0" fmla="*/ 792088 h 1227997"/>
              <a:gd name="connsiteX1" fmla="*/ 288032 w 864096"/>
              <a:gd name="connsiteY1" fmla="*/ 0 h 1227997"/>
              <a:gd name="connsiteX2" fmla="*/ 636066 w 864096"/>
              <a:gd name="connsiteY2" fmla="*/ 0 h 1227997"/>
              <a:gd name="connsiteX3" fmla="*/ 864096 w 864096"/>
              <a:gd name="connsiteY3" fmla="*/ 228030 h 1227997"/>
              <a:gd name="connsiteX4" fmla="*/ 864096 w 864096"/>
              <a:gd name="connsiteY4" fmla="*/ 576064 h 1227997"/>
              <a:gd name="connsiteX5" fmla="*/ 0 w 864096"/>
              <a:gd name="connsiteY5" fmla="*/ 792088 h 1227997"/>
              <a:gd name="connsiteX0" fmla="*/ 200165 w 1064261"/>
              <a:gd name="connsiteY0" fmla="*/ 792088 h 1227997"/>
              <a:gd name="connsiteX1" fmla="*/ 488197 w 1064261"/>
              <a:gd name="connsiteY1" fmla="*/ 0 h 1227997"/>
              <a:gd name="connsiteX2" fmla="*/ 836231 w 1064261"/>
              <a:gd name="connsiteY2" fmla="*/ 0 h 1227997"/>
              <a:gd name="connsiteX3" fmla="*/ 1064261 w 1064261"/>
              <a:gd name="connsiteY3" fmla="*/ 228030 h 1227997"/>
              <a:gd name="connsiteX4" fmla="*/ 1064261 w 1064261"/>
              <a:gd name="connsiteY4" fmla="*/ 576064 h 1227997"/>
              <a:gd name="connsiteX5" fmla="*/ 200165 w 1064261"/>
              <a:gd name="connsiteY5" fmla="*/ 792088 h 1227997"/>
              <a:gd name="connsiteX0" fmla="*/ 200165 w 1064261"/>
              <a:gd name="connsiteY0" fmla="*/ 792088 h 1227997"/>
              <a:gd name="connsiteX1" fmla="*/ 488197 w 1064261"/>
              <a:gd name="connsiteY1" fmla="*/ 0 h 1227997"/>
              <a:gd name="connsiteX2" fmla="*/ 836231 w 1064261"/>
              <a:gd name="connsiteY2" fmla="*/ 0 h 1227997"/>
              <a:gd name="connsiteX3" fmla="*/ 1064261 w 1064261"/>
              <a:gd name="connsiteY3" fmla="*/ 228030 h 1227997"/>
              <a:gd name="connsiteX4" fmla="*/ 1064261 w 1064261"/>
              <a:gd name="connsiteY4" fmla="*/ 576064 h 1227997"/>
              <a:gd name="connsiteX5" fmla="*/ 200165 w 1064261"/>
              <a:gd name="connsiteY5" fmla="*/ 792088 h 1227997"/>
              <a:gd name="connsiteX0" fmla="*/ 200165 w 1064261"/>
              <a:gd name="connsiteY0" fmla="*/ 792088 h 1265492"/>
              <a:gd name="connsiteX1" fmla="*/ 488197 w 1064261"/>
              <a:gd name="connsiteY1" fmla="*/ 0 h 1265492"/>
              <a:gd name="connsiteX2" fmla="*/ 836231 w 1064261"/>
              <a:gd name="connsiteY2" fmla="*/ 0 h 1265492"/>
              <a:gd name="connsiteX3" fmla="*/ 1064261 w 1064261"/>
              <a:gd name="connsiteY3" fmla="*/ 228030 h 1265492"/>
              <a:gd name="connsiteX4" fmla="*/ 1064261 w 1064261"/>
              <a:gd name="connsiteY4" fmla="*/ 576064 h 1265492"/>
              <a:gd name="connsiteX5" fmla="*/ 200165 w 1064261"/>
              <a:gd name="connsiteY5" fmla="*/ 792088 h 1265492"/>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576064"/>
              <a:gd name="connsiteX1" fmla="*/ 200164 w 776228"/>
              <a:gd name="connsiteY1" fmla="*/ 0 h 576064"/>
              <a:gd name="connsiteX2" fmla="*/ 548198 w 776228"/>
              <a:gd name="connsiteY2" fmla="*/ 0 h 576064"/>
              <a:gd name="connsiteX3" fmla="*/ 776228 w 776228"/>
              <a:gd name="connsiteY3" fmla="*/ 228030 h 576064"/>
              <a:gd name="connsiteX4" fmla="*/ 776228 w 776228"/>
              <a:gd name="connsiteY4" fmla="*/ 576064 h 576064"/>
              <a:gd name="connsiteX5" fmla="*/ 200165 w 776228"/>
              <a:gd name="connsiteY5" fmla="*/ 576063 h 576064"/>
              <a:gd name="connsiteX0" fmla="*/ 58007 w 634070"/>
              <a:gd name="connsiteY0" fmla="*/ 576063 h 586290"/>
              <a:gd name="connsiteX1" fmla="*/ 58006 w 634070"/>
              <a:gd name="connsiteY1" fmla="*/ 0 h 586290"/>
              <a:gd name="connsiteX2" fmla="*/ 406040 w 634070"/>
              <a:gd name="connsiteY2" fmla="*/ 0 h 586290"/>
              <a:gd name="connsiteX3" fmla="*/ 634070 w 634070"/>
              <a:gd name="connsiteY3" fmla="*/ 228030 h 586290"/>
              <a:gd name="connsiteX4" fmla="*/ 634070 w 634070"/>
              <a:gd name="connsiteY4" fmla="*/ 576064 h 586290"/>
              <a:gd name="connsiteX5" fmla="*/ 58007 w 634070"/>
              <a:gd name="connsiteY5" fmla="*/ 576063 h 586290"/>
              <a:gd name="connsiteX0" fmla="*/ 0 w 1008112"/>
              <a:gd name="connsiteY0" fmla="*/ 576064 h 586291"/>
              <a:gd name="connsiteX1" fmla="*/ 432048 w 1008112"/>
              <a:gd name="connsiteY1" fmla="*/ 0 h 586291"/>
              <a:gd name="connsiteX2" fmla="*/ 780082 w 1008112"/>
              <a:gd name="connsiteY2" fmla="*/ 0 h 586291"/>
              <a:gd name="connsiteX3" fmla="*/ 1008112 w 1008112"/>
              <a:gd name="connsiteY3" fmla="*/ 228030 h 586291"/>
              <a:gd name="connsiteX4" fmla="*/ 1008112 w 1008112"/>
              <a:gd name="connsiteY4" fmla="*/ 576064 h 586291"/>
              <a:gd name="connsiteX5" fmla="*/ 0 w 1008112"/>
              <a:gd name="connsiteY5" fmla="*/ 576064 h 586291"/>
              <a:gd name="connsiteX0" fmla="*/ 0 w 1440160"/>
              <a:gd name="connsiteY0" fmla="*/ 720080 h 730307"/>
              <a:gd name="connsiteX1" fmla="*/ 864096 w 1440160"/>
              <a:gd name="connsiteY1" fmla="*/ 0 h 730307"/>
              <a:gd name="connsiteX2" fmla="*/ 1212130 w 1440160"/>
              <a:gd name="connsiteY2" fmla="*/ 0 h 730307"/>
              <a:gd name="connsiteX3" fmla="*/ 1440160 w 1440160"/>
              <a:gd name="connsiteY3" fmla="*/ 228030 h 730307"/>
              <a:gd name="connsiteX4" fmla="*/ 1440160 w 1440160"/>
              <a:gd name="connsiteY4" fmla="*/ 576064 h 730307"/>
              <a:gd name="connsiteX5" fmla="*/ 0 w 1440160"/>
              <a:gd name="connsiteY5" fmla="*/ 720080 h 730307"/>
              <a:gd name="connsiteX0" fmla="*/ 0 w 1440160"/>
              <a:gd name="connsiteY0" fmla="*/ 720080 h 720080"/>
              <a:gd name="connsiteX1" fmla="*/ 864096 w 1440160"/>
              <a:gd name="connsiteY1" fmla="*/ 0 h 720080"/>
              <a:gd name="connsiteX2" fmla="*/ 1212130 w 1440160"/>
              <a:gd name="connsiteY2" fmla="*/ 0 h 720080"/>
              <a:gd name="connsiteX3" fmla="*/ 1440160 w 1440160"/>
              <a:gd name="connsiteY3" fmla="*/ 228030 h 720080"/>
              <a:gd name="connsiteX4" fmla="*/ 1440160 w 1440160"/>
              <a:gd name="connsiteY4" fmla="*/ 576064 h 720080"/>
              <a:gd name="connsiteX5" fmla="*/ 0 w 1440160"/>
              <a:gd name="connsiteY5" fmla="*/ 720080 h 720080"/>
              <a:gd name="connsiteX0" fmla="*/ 0 w 862092"/>
              <a:gd name="connsiteY0" fmla="*/ 715763 h 715763"/>
              <a:gd name="connsiteX1" fmla="*/ 72008 w 862092"/>
              <a:gd name="connsiteY1" fmla="*/ 139699 h 715763"/>
              <a:gd name="connsiteX2" fmla="*/ 420042 w 862092"/>
              <a:gd name="connsiteY2" fmla="*/ 139699 h 715763"/>
              <a:gd name="connsiteX3" fmla="*/ 648072 w 862092"/>
              <a:gd name="connsiteY3" fmla="*/ 367729 h 715763"/>
              <a:gd name="connsiteX4" fmla="*/ 648072 w 862092"/>
              <a:gd name="connsiteY4" fmla="*/ 715763 h 715763"/>
              <a:gd name="connsiteX5" fmla="*/ 0 w 862092"/>
              <a:gd name="connsiteY5" fmla="*/ 715763 h 715763"/>
              <a:gd name="connsiteX0" fmla="*/ 8670 w 656742"/>
              <a:gd name="connsiteY0" fmla="*/ 576064 h 576064"/>
              <a:gd name="connsiteX1" fmla="*/ 80678 w 656742"/>
              <a:gd name="connsiteY1" fmla="*/ 0 h 576064"/>
              <a:gd name="connsiteX2" fmla="*/ 428712 w 656742"/>
              <a:gd name="connsiteY2" fmla="*/ 0 h 576064"/>
              <a:gd name="connsiteX3" fmla="*/ 656742 w 656742"/>
              <a:gd name="connsiteY3" fmla="*/ 228030 h 576064"/>
              <a:gd name="connsiteX4" fmla="*/ 656742 w 656742"/>
              <a:gd name="connsiteY4" fmla="*/ 576064 h 576064"/>
              <a:gd name="connsiteX5" fmla="*/ 8670 w 656742"/>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8670 w 584734"/>
              <a:gd name="connsiteY0" fmla="*/ 576064 h 576064"/>
              <a:gd name="connsiteX1" fmla="*/ 8670 w 584734"/>
              <a:gd name="connsiteY1" fmla="*/ 0 h 576064"/>
              <a:gd name="connsiteX2" fmla="*/ 356704 w 584734"/>
              <a:gd name="connsiteY2" fmla="*/ 0 h 576064"/>
              <a:gd name="connsiteX3" fmla="*/ 584734 w 584734"/>
              <a:gd name="connsiteY3" fmla="*/ 228030 h 576064"/>
              <a:gd name="connsiteX4" fmla="*/ 584734 w 584734"/>
              <a:gd name="connsiteY4" fmla="*/ 576064 h 576064"/>
              <a:gd name="connsiteX5" fmla="*/ 8670 w 584734"/>
              <a:gd name="connsiteY5" fmla="*/ 576064 h 5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734" h="576064">
                <a:moveTo>
                  <a:pt x="8670" y="576064"/>
                </a:moveTo>
                <a:cubicBezTo>
                  <a:pt x="0" y="574110"/>
                  <a:pt x="13740" y="140848"/>
                  <a:pt x="8670" y="0"/>
                </a:cubicBezTo>
                <a:lnTo>
                  <a:pt x="356704" y="0"/>
                </a:lnTo>
                <a:cubicBezTo>
                  <a:pt x="356704" y="125937"/>
                  <a:pt x="458796" y="228030"/>
                  <a:pt x="584734" y="228030"/>
                </a:cubicBezTo>
                <a:lnTo>
                  <a:pt x="584734" y="576064"/>
                </a:lnTo>
                <a:lnTo>
                  <a:pt x="8670" y="57606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a-DK">
                <a:solidFill>
                  <a:srgbClr val="FFFFFF"/>
                </a:solidFill>
                <a:cs typeface="Arial" charset="0"/>
              </a:rPr>
              <a:t>ç</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39"/>
          <p:cNvSpPr>
            <a:spLocks noGrp="1"/>
          </p:cNvSpPr>
          <p:nvPr>
            <p:ph type="title"/>
          </p:nvPr>
        </p:nvSpPr>
        <p:spPr>
          <a:xfrm>
            <a:off x="3429000" y="274638"/>
            <a:ext cx="5257800" cy="993775"/>
          </a:xfrm>
        </p:spPr>
        <p:txBody>
          <a:bodyPr/>
          <a:lstStyle/>
          <a:p>
            <a:r>
              <a:rPr lang="es-CR" dirty="0" smtClean="0">
                <a:ea typeface="ＭＳ Ｐゴシック" pitchFamily="34" charset="-128"/>
              </a:rPr>
              <a:t>Embarcando a tiempo</a:t>
            </a:r>
          </a:p>
        </p:txBody>
      </p:sp>
      <p:sp>
        <p:nvSpPr>
          <p:cNvPr id="25603" name="Text Placeholder 13"/>
          <p:cNvSpPr>
            <a:spLocks noGrp="1"/>
          </p:cNvSpPr>
          <p:nvPr>
            <p:ph sz="half" idx="1"/>
          </p:nvPr>
        </p:nvSpPr>
        <p:spPr>
          <a:xfrm>
            <a:off x="457200" y="1484313"/>
            <a:ext cx="4038600" cy="4641850"/>
          </a:xfrm>
        </p:spPr>
        <p:txBody>
          <a:bodyPr/>
          <a:lstStyle/>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pPr>
              <a:buClr>
                <a:schemeClr val="accent1"/>
              </a:buClr>
            </a:pPr>
            <a:r>
              <a:rPr lang="es-CR" dirty="0" smtClean="0">
                <a:ea typeface="ＭＳ Ｐゴシック" pitchFamily="34" charset="-128"/>
              </a:rPr>
              <a:t>Cadena de Frio desde la Finca</a:t>
            </a:r>
          </a:p>
          <a:p>
            <a:pPr>
              <a:buClr>
                <a:schemeClr val="accent1"/>
              </a:buClr>
            </a:pPr>
            <a:r>
              <a:rPr lang="es-CR" dirty="0" smtClean="0">
                <a:ea typeface="ＭＳ Ｐゴシック" pitchFamily="34" charset="-128"/>
              </a:rPr>
              <a:t>Consolidación de la carga en estaciones de empaque</a:t>
            </a:r>
          </a:p>
          <a:p>
            <a:endParaRPr lang="en-US" dirty="0" smtClean="0">
              <a:ea typeface="ＭＳ Ｐゴシック" pitchFamily="34" charset="-128"/>
            </a:endParaRPr>
          </a:p>
        </p:txBody>
      </p:sp>
      <p:sp>
        <p:nvSpPr>
          <p:cNvPr id="25604" name="Text Placeholder 14"/>
          <p:cNvSpPr>
            <a:spLocks noGrp="1"/>
          </p:cNvSpPr>
          <p:nvPr>
            <p:ph sz="half" idx="2"/>
          </p:nvPr>
        </p:nvSpPr>
        <p:spPr>
          <a:xfrm>
            <a:off x="4648200" y="1484312"/>
            <a:ext cx="4038600" cy="4945083"/>
          </a:xfrm>
        </p:spPr>
        <p:txBody>
          <a:bodyPr/>
          <a:lstStyle/>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pPr>
              <a:buClr>
                <a:schemeClr val="accent1"/>
              </a:buClr>
            </a:pPr>
            <a:r>
              <a:rPr lang="es-CR" dirty="0" smtClean="0">
                <a:ea typeface="ＭＳ Ｐゴシック" pitchFamily="34" charset="-128"/>
              </a:rPr>
              <a:t>Transporte de la empacadora al puerto o centro de consolidación.</a:t>
            </a:r>
          </a:p>
          <a:p>
            <a:pPr>
              <a:buClr>
                <a:schemeClr val="accent1"/>
              </a:buClr>
            </a:pPr>
            <a:r>
              <a:rPr lang="es-CR" dirty="0" smtClean="0">
                <a:ea typeface="ＭＳ Ｐゴシック" pitchFamily="34" charset="-128"/>
              </a:rPr>
              <a:t>Tramites de exportación y documentación</a:t>
            </a:r>
          </a:p>
          <a:p>
            <a:pPr>
              <a:buClr>
                <a:schemeClr val="accent1"/>
              </a:buClr>
            </a:pPr>
            <a:r>
              <a:rPr lang="es-CR" dirty="0" smtClean="0">
                <a:ea typeface="ＭＳ Ｐゴシック" pitchFamily="34" charset="-128"/>
              </a:rPr>
              <a:t>Seguros de carga e inspecciones de calidad</a:t>
            </a:r>
          </a:p>
          <a:p>
            <a:endParaRPr lang="en-US" dirty="0" smtClean="0">
              <a:ea typeface="ＭＳ Ｐゴシック" pitchFamily="34" charset="-128"/>
            </a:endParaRPr>
          </a:p>
        </p:txBody>
      </p:sp>
      <p:grpSp>
        <p:nvGrpSpPr>
          <p:cNvPr id="25605" name="Group 18"/>
          <p:cNvGrpSpPr>
            <a:grpSpLocks/>
          </p:cNvGrpSpPr>
          <p:nvPr/>
        </p:nvGrpSpPr>
        <p:grpSpPr bwMode="auto">
          <a:xfrm>
            <a:off x="457200" y="485775"/>
            <a:ext cx="2578100" cy="571500"/>
            <a:chOff x="573088" y="4610100"/>
            <a:chExt cx="2578100" cy="571500"/>
          </a:xfrm>
        </p:grpSpPr>
        <p:sp>
          <p:nvSpPr>
            <p:cNvPr id="21" name="Rounded Rectangle 20"/>
            <p:cNvSpPr/>
            <p:nvPr/>
          </p:nvSpPr>
          <p:spPr bwMode="auto">
            <a:xfrm>
              <a:off x="573088" y="4610100"/>
              <a:ext cx="2578100" cy="571500"/>
            </a:xfrm>
            <a:prstGeom prst="roundRect">
              <a:avLst>
                <a:gd name="adj" fmla="val 10000"/>
              </a:avLst>
            </a:prstGeom>
            <a:gradFill flip="none" rotWithShape="1">
              <a:gsLst>
                <a:gs pos="0">
                  <a:schemeClr val="accent1"/>
                </a:gs>
                <a:gs pos="100000">
                  <a:schemeClr val="accent1">
                    <a:lumMod val="75000"/>
                  </a:schemeClr>
                </a:gs>
              </a:gsLst>
              <a:path path="circle">
                <a:fillToRect l="100000" t="100000"/>
              </a:path>
              <a:tileRect r="-100000" b="-100000"/>
            </a:gradFill>
            <a:ln w="9525" cap="flat" cmpd="sng" algn="ctr">
              <a:noFill/>
              <a:prstDash val="solid"/>
              <a:round/>
              <a:headEnd type="none" w="med" len="med"/>
              <a:tailEnd type="none" w="med" len="med"/>
            </a:ln>
            <a:effectLst/>
          </p:spPr>
          <p:txBody>
            <a:bodyPr lIns="90000" tIns="46800" rIns="90000" bIns="46800" anchor="b"/>
            <a:lstStyle/>
            <a:p>
              <a:pPr>
                <a:defRPr/>
              </a:pPr>
              <a:r>
                <a:rPr lang="en-US" sz="1000" b="1" cap="all" dirty="0">
                  <a:solidFill>
                    <a:schemeClr val="bg1"/>
                  </a:solidFill>
                  <a:latin typeface="Arial"/>
                  <a:ea typeface="Arial" charset="0"/>
                  <a:cs typeface="Arial"/>
                </a:rPr>
                <a:t>Origin</a:t>
              </a:r>
            </a:p>
            <a:p>
              <a:pPr>
                <a:defRPr/>
              </a:pPr>
              <a:r>
                <a:rPr lang="en-US" sz="1000" b="1" cap="all" dirty="0">
                  <a:solidFill>
                    <a:schemeClr val="bg1"/>
                  </a:solidFill>
                  <a:latin typeface="Arial"/>
                  <a:ea typeface="Arial" charset="0"/>
                  <a:cs typeface="Arial"/>
                </a:rPr>
                <a:t>Services</a:t>
              </a:r>
            </a:p>
          </p:txBody>
        </p:sp>
        <p:sp>
          <p:nvSpPr>
            <p:cNvPr id="25610" name="TextBox 21"/>
            <p:cNvSpPr txBox="1">
              <a:spLocks noChangeArrowheads="1"/>
            </p:cNvSpPr>
            <p:nvPr/>
          </p:nvSpPr>
          <p:spPr bwMode="auto">
            <a:xfrm>
              <a:off x="2630488" y="4775200"/>
              <a:ext cx="508000" cy="400110"/>
            </a:xfrm>
            <a:prstGeom prst="rect">
              <a:avLst/>
            </a:prstGeom>
            <a:noFill/>
            <a:ln w="9525">
              <a:noFill/>
              <a:miter lim="800000"/>
              <a:headEnd/>
              <a:tailEnd/>
            </a:ln>
          </p:spPr>
          <p:txBody>
            <a:bodyPr>
              <a:spAutoFit/>
            </a:bodyPr>
            <a:lstStyle/>
            <a:p>
              <a:r>
                <a:rPr lang="en-US" sz="2000" b="1">
                  <a:solidFill>
                    <a:schemeClr val="bg1"/>
                  </a:solidFill>
                  <a:latin typeface="Wingdings" pitchFamily="2" charset="2"/>
                </a:rPr>
                <a:t></a:t>
              </a:r>
              <a:endParaRPr lang="en-US" sz="2000" b="1">
                <a:solidFill>
                  <a:schemeClr val="bg1"/>
                </a:solidFill>
              </a:endParaRPr>
            </a:p>
          </p:txBody>
        </p:sp>
      </p:grpSp>
      <p:pic>
        <p:nvPicPr>
          <p:cNvPr id="25606" name="Picture 16" descr="oranges.jpg"/>
          <p:cNvPicPr>
            <a:picLocks noChangeAspect="1"/>
          </p:cNvPicPr>
          <p:nvPr/>
        </p:nvPicPr>
        <p:blipFill>
          <a:blip r:embed="rId3" cstate="print"/>
          <a:srcRect/>
          <a:stretch>
            <a:fillRect/>
          </a:stretch>
        </p:blipFill>
        <p:spPr bwMode="auto">
          <a:xfrm>
            <a:off x="457200" y="1600200"/>
            <a:ext cx="8255000" cy="2616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7"/>
          <p:cNvSpPr>
            <a:spLocks noGrp="1"/>
          </p:cNvSpPr>
          <p:nvPr>
            <p:ph type="title"/>
          </p:nvPr>
        </p:nvSpPr>
        <p:spPr>
          <a:xfrm>
            <a:off x="3200400" y="274638"/>
            <a:ext cx="5486400" cy="993775"/>
          </a:xfrm>
        </p:spPr>
        <p:txBody>
          <a:bodyPr/>
          <a:lstStyle/>
          <a:p>
            <a:r>
              <a:rPr lang="es-CR" dirty="0" smtClean="0">
                <a:ea typeface="ＭＳ Ｐゴシック" pitchFamily="34" charset="-128"/>
              </a:rPr>
              <a:t>Administrando los diferentes modos de transporte</a:t>
            </a:r>
          </a:p>
        </p:txBody>
      </p:sp>
      <p:grpSp>
        <p:nvGrpSpPr>
          <p:cNvPr id="27651" name="Group 9"/>
          <p:cNvGrpSpPr>
            <a:grpSpLocks/>
          </p:cNvGrpSpPr>
          <p:nvPr/>
        </p:nvGrpSpPr>
        <p:grpSpPr bwMode="auto">
          <a:xfrm>
            <a:off x="469900" y="485775"/>
            <a:ext cx="2578100" cy="571500"/>
            <a:chOff x="3263900" y="2324100"/>
            <a:chExt cx="2578100" cy="571500"/>
          </a:xfrm>
        </p:grpSpPr>
        <p:sp>
          <p:nvSpPr>
            <p:cNvPr id="11" name="Rounded Rectangle 10"/>
            <p:cNvSpPr/>
            <p:nvPr/>
          </p:nvSpPr>
          <p:spPr bwMode="auto">
            <a:xfrm>
              <a:off x="3263900" y="2324100"/>
              <a:ext cx="2578100" cy="571500"/>
            </a:xfrm>
            <a:prstGeom prst="roundRect">
              <a:avLst>
                <a:gd name="adj" fmla="val 10000"/>
              </a:avLst>
            </a:prstGeom>
            <a:gradFill flip="none" rotWithShape="1">
              <a:gsLst>
                <a:gs pos="0">
                  <a:schemeClr val="accent2"/>
                </a:gs>
                <a:gs pos="100000">
                  <a:schemeClr val="accent2">
                    <a:lumMod val="75000"/>
                  </a:schemeClr>
                </a:gs>
              </a:gsLst>
              <a:path path="circle">
                <a:fillToRect l="100000" t="100000"/>
              </a:path>
              <a:tileRect r="-100000" b="-100000"/>
            </a:gradFill>
            <a:ln w="9525" cap="flat" cmpd="sng" algn="ctr">
              <a:noFill/>
              <a:prstDash val="solid"/>
              <a:round/>
              <a:headEnd type="none" w="med" len="med"/>
              <a:tailEnd type="none" w="med" len="med"/>
            </a:ln>
            <a:effectLst/>
          </p:spPr>
          <p:txBody>
            <a:bodyPr lIns="90000" tIns="46800" rIns="90000" bIns="46800" anchor="b"/>
            <a:lstStyle/>
            <a:p>
              <a:pPr>
                <a:defRPr/>
              </a:pPr>
              <a:r>
                <a:rPr lang="en-US" sz="1000" b="1" cap="all" dirty="0">
                  <a:solidFill>
                    <a:schemeClr val="bg1"/>
                  </a:solidFill>
                  <a:latin typeface="Arial"/>
                  <a:ea typeface="Arial" charset="0"/>
                  <a:cs typeface="Arial"/>
                </a:rPr>
                <a:t>Transport</a:t>
              </a:r>
            </a:p>
            <a:p>
              <a:pPr>
                <a:defRPr/>
              </a:pPr>
              <a:r>
                <a:rPr lang="en-US" sz="1000" b="1" cap="all" dirty="0">
                  <a:solidFill>
                    <a:schemeClr val="bg1"/>
                  </a:solidFill>
                  <a:latin typeface="Arial"/>
                  <a:ea typeface="Arial" charset="0"/>
                  <a:cs typeface="Arial"/>
                </a:rPr>
                <a:t>Services</a:t>
              </a:r>
            </a:p>
          </p:txBody>
        </p:sp>
        <p:sp>
          <p:nvSpPr>
            <p:cNvPr id="27660" name="TextBox 11"/>
            <p:cNvSpPr txBox="1">
              <a:spLocks noChangeArrowheads="1"/>
            </p:cNvSpPr>
            <p:nvPr/>
          </p:nvSpPr>
          <p:spPr bwMode="auto">
            <a:xfrm>
              <a:off x="5321300" y="2489200"/>
              <a:ext cx="508000" cy="400110"/>
            </a:xfrm>
            <a:prstGeom prst="rect">
              <a:avLst/>
            </a:prstGeom>
            <a:noFill/>
            <a:ln w="9525">
              <a:noFill/>
              <a:miter lim="800000"/>
              <a:headEnd/>
              <a:tailEnd/>
            </a:ln>
          </p:spPr>
          <p:txBody>
            <a:bodyPr>
              <a:spAutoFit/>
            </a:bodyPr>
            <a:lstStyle/>
            <a:p>
              <a:r>
                <a:rPr lang="en-US" sz="2000" b="1">
                  <a:solidFill>
                    <a:schemeClr val="bg1"/>
                  </a:solidFill>
                  <a:latin typeface="Wingdings" pitchFamily="2" charset="2"/>
                </a:rPr>
                <a:t></a:t>
              </a:r>
              <a:endParaRPr lang="en-US" sz="2000" b="1">
                <a:solidFill>
                  <a:schemeClr val="bg1"/>
                </a:solidFill>
              </a:endParaRPr>
            </a:p>
          </p:txBody>
        </p:sp>
      </p:grpSp>
      <p:sp>
        <p:nvSpPr>
          <p:cNvPr id="27652" name="Content Placeholder 19"/>
          <p:cNvSpPr>
            <a:spLocks noGrp="1"/>
          </p:cNvSpPr>
          <p:nvPr>
            <p:ph sz="half" idx="2"/>
          </p:nvPr>
        </p:nvSpPr>
        <p:spPr>
          <a:xfrm>
            <a:off x="4648200" y="1484313"/>
            <a:ext cx="4038600" cy="4641850"/>
          </a:xfrm>
        </p:spPr>
        <p:txBody>
          <a:bodyPr/>
          <a:lstStyle/>
          <a:p>
            <a:pPr marL="266700" indent="-266700">
              <a:buClr>
                <a:schemeClr val="accent2"/>
              </a:buClr>
            </a:pPr>
            <a:r>
              <a:rPr lang="es-CR" dirty="0" smtClean="0">
                <a:ea typeface="ＭＳ Ｐゴシック" pitchFamily="34" charset="-128"/>
                <a:cs typeface="Arial" charset="0"/>
              </a:rPr>
              <a:t>Manejos de carga multimodales (Terrestre – Marítimo – Aéreo)</a:t>
            </a:r>
          </a:p>
          <a:p>
            <a:pPr marL="266700" indent="-266700">
              <a:buClr>
                <a:schemeClr val="accent2"/>
              </a:buClr>
            </a:pPr>
            <a:r>
              <a:rPr lang="es-CR" dirty="0" smtClean="0">
                <a:ea typeface="ＭＳ Ｐゴシック" pitchFamily="34" charset="-128"/>
                <a:cs typeface="Arial" charset="0"/>
              </a:rPr>
              <a:t>Garantizando espacios durante las temporadas altas</a:t>
            </a:r>
          </a:p>
          <a:p>
            <a:pPr marL="266700" indent="-266700">
              <a:buClr>
                <a:schemeClr val="accent2"/>
              </a:buClr>
            </a:pPr>
            <a:r>
              <a:rPr lang="es-CR" dirty="0" smtClean="0">
                <a:ea typeface="ＭＳ Ｐゴシック" pitchFamily="34" charset="-128"/>
                <a:cs typeface="Arial" charset="0"/>
              </a:rPr>
              <a:t>Monitoreo y control de temperatura y unidad de transporte durante todo el viaje</a:t>
            </a:r>
          </a:p>
          <a:p>
            <a:pPr marL="266700" indent="-266700">
              <a:buClr>
                <a:schemeClr val="accent2"/>
              </a:buClr>
            </a:pPr>
            <a:r>
              <a:rPr lang="es-CR" dirty="0" smtClean="0">
                <a:ea typeface="ＭＳ Ｐゴシック" pitchFamily="34" charset="-128"/>
                <a:cs typeface="Arial" charset="0"/>
              </a:rPr>
              <a:t>Pro-activos ante las eventualidades</a:t>
            </a:r>
          </a:p>
          <a:p>
            <a:pPr marL="266700" indent="-266700">
              <a:buClr>
                <a:schemeClr val="accent2"/>
              </a:buClr>
            </a:pPr>
            <a:r>
              <a:rPr lang="es-CR" dirty="0" smtClean="0">
                <a:ea typeface="ＭＳ Ｐゴシック" pitchFamily="34" charset="-128"/>
                <a:cs typeface="Arial" charset="0"/>
              </a:rPr>
              <a:t>Administración de información y documentación</a:t>
            </a:r>
          </a:p>
        </p:txBody>
      </p:sp>
      <p:sp>
        <p:nvSpPr>
          <p:cNvPr id="23" name="Kombinationstegning 9"/>
          <p:cNvSpPr/>
          <p:nvPr/>
        </p:nvSpPr>
        <p:spPr bwMode="white">
          <a:xfrm>
            <a:off x="114300" y="5495925"/>
            <a:ext cx="584200" cy="574675"/>
          </a:xfrm>
          <a:custGeom>
            <a:avLst/>
            <a:gdLst>
              <a:gd name="connsiteX0" fmla="*/ 0 w 1368152"/>
              <a:gd name="connsiteY0" fmla="*/ 228030 h 1368152"/>
              <a:gd name="connsiteX1" fmla="*/ 228030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8" fmla="*/ 0 w 1368152"/>
              <a:gd name="connsiteY8" fmla="*/ 228030 h 1368152"/>
              <a:gd name="connsiteX0" fmla="*/ 0 w 1368152"/>
              <a:gd name="connsiteY0" fmla="*/ 1140122 h 1368152"/>
              <a:gd name="connsiteX1" fmla="*/ 228030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0" fmla="*/ 0 w 1368152"/>
              <a:gd name="connsiteY0" fmla="*/ 1140122 h 1368152"/>
              <a:gd name="connsiteX1" fmla="*/ 792088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0" fmla="*/ 58006 w 1198128"/>
              <a:gd name="connsiteY0" fmla="*/ 1368152 h 1368152"/>
              <a:gd name="connsiteX1" fmla="*/ 622064 w 1198128"/>
              <a:gd name="connsiteY1" fmla="*/ 0 h 1368152"/>
              <a:gd name="connsiteX2" fmla="*/ 970098 w 1198128"/>
              <a:gd name="connsiteY2" fmla="*/ 0 h 1368152"/>
              <a:gd name="connsiteX3" fmla="*/ 1198128 w 1198128"/>
              <a:gd name="connsiteY3" fmla="*/ 228030 h 1368152"/>
              <a:gd name="connsiteX4" fmla="*/ 1198128 w 1198128"/>
              <a:gd name="connsiteY4" fmla="*/ 1140122 h 1368152"/>
              <a:gd name="connsiteX5" fmla="*/ 970098 w 1198128"/>
              <a:gd name="connsiteY5" fmla="*/ 1368152 h 1368152"/>
              <a:gd name="connsiteX6" fmla="*/ 58006 w 1198128"/>
              <a:gd name="connsiteY6" fmla="*/ 1368152 h 1368152"/>
              <a:gd name="connsiteX0" fmla="*/ 348034 w 576064"/>
              <a:gd name="connsiteY0" fmla="*/ 1368152 h 1368152"/>
              <a:gd name="connsiteX1" fmla="*/ 0 w 576064"/>
              <a:gd name="connsiteY1" fmla="*/ 0 h 1368152"/>
              <a:gd name="connsiteX2" fmla="*/ 348034 w 576064"/>
              <a:gd name="connsiteY2" fmla="*/ 0 h 1368152"/>
              <a:gd name="connsiteX3" fmla="*/ 576064 w 576064"/>
              <a:gd name="connsiteY3" fmla="*/ 228030 h 1368152"/>
              <a:gd name="connsiteX4" fmla="*/ 576064 w 576064"/>
              <a:gd name="connsiteY4" fmla="*/ 1140122 h 1368152"/>
              <a:gd name="connsiteX5" fmla="*/ 348034 w 576064"/>
              <a:gd name="connsiteY5" fmla="*/ 1368152 h 1368152"/>
              <a:gd name="connsiteX0" fmla="*/ 348034 w 576064"/>
              <a:gd name="connsiteY0" fmla="*/ 1368152 h 1368152"/>
              <a:gd name="connsiteX1" fmla="*/ 0 w 576064"/>
              <a:gd name="connsiteY1" fmla="*/ 0 h 1368152"/>
              <a:gd name="connsiteX2" fmla="*/ 348034 w 576064"/>
              <a:gd name="connsiteY2" fmla="*/ 0 h 1368152"/>
              <a:gd name="connsiteX3" fmla="*/ 576064 w 576064"/>
              <a:gd name="connsiteY3" fmla="*/ 228030 h 1368152"/>
              <a:gd name="connsiteX4" fmla="*/ 576064 w 576064"/>
              <a:gd name="connsiteY4" fmla="*/ 576064 h 1368152"/>
              <a:gd name="connsiteX5" fmla="*/ 348034 w 576064"/>
              <a:gd name="connsiteY5" fmla="*/ 1368152 h 1368152"/>
              <a:gd name="connsiteX0" fmla="*/ 0 w 576064"/>
              <a:gd name="connsiteY0" fmla="*/ 648072 h 648072"/>
              <a:gd name="connsiteX1" fmla="*/ 0 w 576064"/>
              <a:gd name="connsiteY1" fmla="*/ 0 h 648072"/>
              <a:gd name="connsiteX2" fmla="*/ 348034 w 576064"/>
              <a:gd name="connsiteY2" fmla="*/ 0 h 648072"/>
              <a:gd name="connsiteX3" fmla="*/ 576064 w 576064"/>
              <a:gd name="connsiteY3" fmla="*/ 228030 h 648072"/>
              <a:gd name="connsiteX4" fmla="*/ 576064 w 576064"/>
              <a:gd name="connsiteY4" fmla="*/ 576064 h 648072"/>
              <a:gd name="connsiteX5" fmla="*/ 0 w 576064"/>
              <a:gd name="connsiteY5" fmla="*/ 648072 h 648072"/>
              <a:gd name="connsiteX0" fmla="*/ 1182 w 577246"/>
              <a:gd name="connsiteY0" fmla="*/ 648072 h 665362"/>
              <a:gd name="connsiteX1" fmla="*/ 1182 w 577246"/>
              <a:gd name="connsiteY1" fmla="*/ 0 h 665362"/>
              <a:gd name="connsiteX2" fmla="*/ 349216 w 577246"/>
              <a:gd name="connsiteY2" fmla="*/ 0 h 665362"/>
              <a:gd name="connsiteX3" fmla="*/ 577246 w 577246"/>
              <a:gd name="connsiteY3" fmla="*/ 228030 h 665362"/>
              <a:gd name="connsiteX4" fmla="*/ 577246 w 577246"/>
              <a:gd name="connsiteY4" fmla="*/ 576064 h 665362"/>
              <a:gd name="connsiteX5" fmla="*/ 1182 w 577246"/>
              <a:gd name="connsiteY5" fmla="*/ 648072 h 665362"/>
              <a:gd name="connsiteX0" fmla="*/ 1182 w 577246"/>
              <a:gd name="connsiteY0" fmla="*/ 648072 h 665362"/>
              <a:gd name="connsiteX1" fmla="*/ 1182 w 577246"/>
              <a:gd name="connsiteY1" fmla="*/ 0 h 665362"/>
              <a:gd name="connsiteX2" fmla="*/ 349216 w 577246"/>
              <a:gd name="connsiteY2" fmla="*/ 0 h 665362"/>
              <a:gd name="connsiteX3" fmla="*/ 577246 w 577246"/>
              <a:gd name="connsiteY3" fmla="*/ 228030 h 665362"/>
              <a:gd name="connsiteX4" fmla="*/ 577246 w 577246"/>
              <a:gd name="connsiteY4" fmla="*/ 576064 h 665362"/>
              <a:gd name="connsiteX5" fmla="*/ 1182 w 577246"/>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1182 w 1081302"/>
              <a:gd name="connsiteY0" fmla="*/ 576064 h 593354"/>
              <a:gd name="connsiteX1" fmla="*/ 505238 w 1081302"/>
              <a:gd name="connsiteY1" fmla="*/ 0 h 593354"/>
              <a:gd name="connsiteX2" fmla="*/ 853272 w 1081302"/>
              <a:gd name="connsiteY2" fmla="*/ 0 h 593354"/>
              <a:gd name="connsiteX3" fmla="*/ 1081302 w 1081302"/>
              <a:gd name="connsiteY3" fmla="*/ 228030 h 593354"/>
              <a:gd name="connsiteX4" fmla="*/ 1081302 w 1081302"/>
              <a:gd name="connsiteY4" fmla="*/ 576064 h 593354"/>
              <a:gd name="connsiteX5" fmla="*/ 1182 w 1081302"/>
              <a:gd name="connsiteY5" fmla="*/ 576064 h 593354"/>
              <a:gd name="connsiteX0" fmla="*/ 1182 w 649254"/>
              <a:gd name="connsiteY0" fmla="*/ 936104 h 953394"/>
              <a:gd name="connsiteX1" fmla="*/ 73190 w 649254"/>
              <a:gd name="connsiteY1" fmla="*/ 0 h 953394"/>
              <a:gd name="connsiteX2" fmla="*/ 421224 w 649254"/>
              <a:gd name="connsiteY2" fmla="*/ 0 h 953394"/>
              <a:gd name="connsiteX3" fmla="*/ 649254 w 649254"/>
              <a:gd name="connsiteY3" fmla="*/ 228030 h 953394"/>
              <a:gd name="connsiteX4" fmla="*/ 649254 w 649254"/>
              <a:gd name="connsiteY4" fmla="*/ 576064 h 953394"/>
              <a:gd name="connsiteX5" fmla="*/ 1182 w 649254"/>
              <a:gd name="connsiteY5" fmla="*/ 936104 h 953394"/>
              <a:gd name="connsiteX0" fmla="*/ 1182 w 865278"/>
              <a:gd name="connsiteY0" fmla="*/ 792088 h 809378"/>
              <a:gd name="connsiteX1" fmla="*/ 289214 w 865278"/>
              <a:gd name="connsiteY1" fmla="*/ 0 h 809378"/>
              <a:gd name="connsiteX2" fmla="*/ 637248 w 865278"/>
              <a:gd name="connsiteY2" fmla="*/ 0 h 809378"/>
              <a:gd name="connsiteX3" fmla="*/ 865278 w 865278"/>
              <a:gd name="connsiteY3" fmla="*/ 228030 h 809378"/>
              <a:gd name="connsiteX4" fmla="*/ 865278 w 865278"/>
              <a:gd name="connsiteY4" fmla="*/ 576064 h 809378"/>
              <a:gd name="connsiteX5" fmla="*/ 1182 w 865278"/>
              <a:gd name="connsiteY5" fmla="*/ 792088 h 809378"/>
              <a:gd name="connsiteX0" fmla="*/ 0 w 864096"/>
              <a:gd name="connsiteY0" fmla="*/ 792088 h 1227997"/>
              <a:gd name="connsiteX1" fmla="*/ 288032 w 864096"/>
              <a:gd name="connsiteY1" fmla="*/ 0 h 1227997"/>
              <a:gd name="connsiteX2" fmla="*/ 636066 w 864096"/>
              <a:gd name="connsiteY2" fmla="*/ 0 h 1227997"/>
              <a:gd name="connsiteX3" fmla="*/ 864096 w 864096"/>
              <a:gd name="connsiteY3" fmla="*/ 228030 h 1227997"/>
              <a:gd name="connsiteX4" fmla="*/ 864096 w 864096"/>
              <a:gd name="connsiteY4" fmla="*/ 576064 h 1227997"/>
              <a:gd name="connsiteX5" fmla="*/ 0 w 864096"/>
              <a:gd name="connsiteY5" fmla="*/ 792088 h 1227997"/>
              <a:gd name="connsiteX0" fmla="*/ 200165 w 1064261"/>
              <a:gd name="connsiteY0" fmla="*/ 792088 h 1227997"/>
              <a:gd name="connsiteX1" fmla="*/ 488197 w 1064261"/>
              <a:gd name="connsiteY1" fmla="*/ 0 h 1227997"/>
              <a:gd name="connsiteX2" fmla="*/ 836231 w 1064261"/>
              <a:gd name="connsiteY2" fmla="*/ 0 h 1227997"/>
              <a:gd name="connsiteX3" fmla="*/ 1064261 w 1064261"/>
              <a:gd name="connsiteY3" fmla="*/ 228030 h 1227997"/>
              <a:gd name="connsiteX4" fmla="*/ 1064261 w 1064261"/>
              <a:gd name="connsiteY4" fmla="*/ 576064 h 1227997"/>
              <a:gd name="connsiteX5" fmla="*/ 200165 w 1064261"/>
              <a:gd name="connsiteY5" fmla="*/ 792088 h 1227997"/>
              <a:gd name="connsiteX0" fmla="*/ 200165 w 1064261"/>
              <a:gd name="connsiteY0" fmla="*/ 792088 h 1227997"/>
              <a:gd name="connsiteX1" fmla="*/ 488197 w 1064261"/>
              <a:gd name="connsiteY1" fmla="*/ 0 h 1227997"/>
              <a:gd name="connsiteX2" fmla="*/ 836231 w 1064261"/>
              <a:gd name="connsiteY2" fmla="*/ 0 h 1227997"/>
              <a:gd name="connsiteX3" fmla="*/ 1064261 w 1064261"/>
              <a:gd name="connsiteY3" fmla="*/ 228030 h 1227997"/>
              <a:gd name="connsiteX4" fmla="*/ 1064261 w 1064261"/>
              <a:gd name="connsiteY4" fmla="*/ 576064 h 1227997"/>
              <a:gd name="connsiteX5" fmla="*/ 200165 w 1064261"/>
              <a:gd name="connsiteY5" fmla="*/ 792088 h 1227997"/>
              <a:gd name="connsiteX0" fmla="*/ 200165 w 1064261"/>
              <a:gd name="connsiteY0" fmla="*/ 792088 h 1265492"/>
              <a:gd name="connsiteX1" fmla="*/ 488197 w 1064261"/>
              <a:gd name="connsiteY1" fmla="*/ 0 h 1265492"/>
              <a:gd name="connsiteX2" fmla="*/ 836231 w 1064261"/>
              <a:gd name="connsiteY2" fmla="*/ 0 h 1265492"/>
              <a:gd name="connsiteX3" fmla="*/ 1064261 w 1064261"/>
              <a:gd name="connsiteY3" fmla="*/ 228030 h 1265492"/>
              <a:gd name="connsiteX4" fmla="*/ 1064261 w 1064261"/>
              <a:gd name="connsiteY4" fmla="*/ 576064 h 1265492"/>
              <a:gd name="connsiteX5" fmla="*/ 200165 w 1064261"/>
              <a:gd name="connsiteY5" fmla="*/ 792088 h 1265492"/>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576064"/>
              <a:gd name="connsiteX1" fmla="*/ 200164 w 776228"/>
              <a:gd name="connsiteY1" fmla="*/ 0 h 576064"/>
              <a:gd name="connsiteX2" fmla="*/ 548198 w 776228"/>
              <a:gd name="connsiteY2" fmla="*/ 0 h 576064"/>
              <a:gd name="connsiteX3" fmla="*/ 776228 w 776228"/>
              <a:gd name="connsiteY3" fmla="*/ 228030 h 576064"/>
              <a:gd name="connsiteX4" fmla="*/ 776228 w 776228"/>
              <a:gd name="connsiteY4" fmla="*/ 576064 h 576064"/>
              <a:gd name="connsiteX5" fmla="*/ 200165 w 776228"/>
              <a:gd name="connsiteY5" fmla="*/ 576063 h 576064"/>
              <a:gd name="connsiteX0" fmla="*/ 58007 w 634070"/>
              <a:gd name="connsiteY0" fmla="*/ 576063 h 586290"/>
              <a:gd name="connsiteX1" fmla="*/ 58006 w 634070"/>
              <a:gd name="connsiteY1" fmla="*/ 0 h 586290"/>
              <a:gd name="connsiteX2" fmla="*/ 406040 w 634070"/>
              <a:gd name="connsiteY2" fmla="*/ 0 h 586290"/>
              <a:gd name="connsiteX3" fmla="*/ 634070 w 634070"/>
              <a:gd name="connsiteY3" fmla="*/ 228030 h 586290"/>
              <a:gd name="connsiteX4" fmla="*/ 634070 w 634070"/>
              <a:gd name="connsiteY4" fmla="*/ 576064 h 586290"/>
              <a:gd name="connsiteX5" fmla="*/ 58007 w 634070"/>
              <a:gd name="connsiteY5" fmla="*/ 576063 h 586290"/>
              <a:gd name="connsiteX0" fmla="*/ 0 w 1008112"/>
              <a:gd name="connsiteY0" fmla="*/ 576064 h 586291"/>
              <a:gd name="connsiteX1" fmla="*/ 432048 w 1008112"/>
              <a:gd name="connsiteY1" fmla="*/ 0 h 586291"/>
              <a:gd name="connsiteX2" fmla="*/ 780082 w 1008112"/>
              <a:gd name="connsiteY2" fmla="*/ 0 h 586291"/>
              <a:gd name="connsiteX3" fmla="*/ 1008112 w 1008112"/>
              <a:gd name="connsiteY3" fmla="*/ 228030 h 586291"/>
              <a:gd name="connsiteX4" fmla="*/ 1008112 w 1008112"/>
              <a:gd name="connsiteY4" fmla="*/ 576064 h 586291"/>
              <a:gd name="connsiteX5" fmla="*/ 0 w 1008112"/>
              <a:gd name="connsiteY5" fmla="*/ 576064 h 586291"/>
              <a:gd name="connsiteX0" fmla="*/ 0 w 1440160"/>
              <a:gd name="connsiteY0" fmla="*/ 720080 h 730307"/>
              <a:gd name="connsiteX1" fmla="*/ 864096 w 1440160"/>
              <a:gd name="connsiteY1" fmla="*/ 0 h 730307"/>
              <a:gd name="connsiteX2" fmla="*/ 1212130 w 1440160"/>
              <a:gd name="connsiteY2" fmla="*/ 0 h 730307"/>
              <a:gd name="connsiteX3" fmla="*/ 1440160 w 1440160"/>
              <a:gd name="connsiteY3" fmla="*/ 228030 h 730307"/>
              <a:gd name="connsiteX4" fmla="*/ 1440160 w 1440160"/>
              <a:gd name="connsiteY4" fmla="*/ 576064 h 730307"/>
              <a:gd name="connsiteX5" fmla="*/ 0 w 1440160"/>
              <a:gd name="connsiteY5" fmla="*/ 720080 h 730307"/>
              <a:gd name="connsiteX0" fmla="*/ 0 w 1440160"/>
              <a:gd name="connsiteY0" fmla="*/ 720080 h 720080"/>
              <a:gd name="connsiteX1" fmla="*/ 864096 w 1440160"/>
              <a:gd name="connsiteY1" fmla="*/ 0 h 720080"/>
              <a:gd name="connsiteX2" fmla="*/ 1212130 w 1440160"/>
              <a:gd name="connsiteY2" fmla="*/ 0 h 720080"/>
              <a:gd name="connsiteX3" fmla="*/ 1440160 w 1440160"/>
              <a:gd name="connsiteY3" fmla="*/ 228030 h 720080"/>
              <a:gd name="connsiteX4" fmla="*/ 1440160 w 1440160"/>
              <a:gd name="connsiteY4" fmla="*/ 576064 h 720080"/>
              <a:gd name="connsiteX5" fmla="*/ 0 w 1440160"/>
              <a:gd name="connsiteY5" fmla="*/ 720080 h 720080"/>
              <a:gd name="connsiteX0" fmla="*/ 0 w 862092"/>
              <a:gd name="connsiteY0" fmla="*/ 715763 h 715763"/>
              <a:gd name="connsiteX1" fmla="*/ 72008 w 862092"/>
              <a:gd name="connsiteY1" fmla="*/ 139699 h 715763"/>
              <a:gd name="connsiteX2" fmla="*/ 420042 w 862092"/>
              <a:gd name="connsiteY2" fmla="*/ 139699 h 715763"/>
              <a:gd name="connsiteX3" fmla="*/ 648072 w 862092"/>
              <a:gd name="connsiteY3" fmla="*/ 367729 h 715763"/>
              <a:gd name="connsiteX4" fmla="*/ 648072 w 862092"/>
              <a:gd name="connsiteY4" fmla="*/ 715763 h 715763"/>
              <a:gd name="connsiteX5" fmla="*/ 0 w 862092"/>
              <a:gd name="connsiteY5" fmla="*/ 715763 h 715763"/>
              <a:gd name="connsiteX0" fmla="*/ 8670 w 656742"/>
              <a:gd name="connsiteY0" fmla="*/ 576064 h 576064"/>
              <a:gd name="connsiteX1" fmla="*/ 80678 w 656742"/>
              <a:gd name="connsiteY1" fmla="*/ 0 h 576064"/>
              <a:gd name="connsiteX2" fmla="*/ 428712 w 656742"/>
              <a:gd name="connsiteY2" fmla="*/ 0 h 576064"/>
              <a:gd name="connsiteX3" fmla="*/ 656742 w 656742"/>
              <a:gd name="connsiteY3" fmla="*/ 228030 h 576064"/>
              <a:gd name="connsiteX4" fmla="*/ 656742 w 656742"/>
              <a:gd name="connsiteY4" fmla="*/ 576064 h 576064"/>
              <a:gd name="connsiteX5" fmla="*/ 8670 w 656742"/>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8670 w 584734"/>
              <a:gd name="connsiteY0" fmla="*/ 576064 h 576064"/>
              <a:gd name="connsiteX1" fmla="*/ 8670 w 584734"/>
              <a:gd name="connsiteY1" fmla="*/ 0 h 576064"/>
              <a:gd name="connsiteX2" fmla="*/ 356704 w 584734"/>
              <a:gd name="connsiteY2" fmla="*/ 0 h 576064"/>
              <a:gd name="connsiteX3" fmla="*/ 584734 w 584734"/>
              <a:gd name="connsiteY3" fmla="*/ 228030 h 576064"/>
              <a:gd name="connsiteX4" fmla="*/ 584734 w 584734"/>
              <a:gd name="connsiteY4" fmla="*/ 576064 h 576064"/>
              <a:gd name="connsiteX5" fmla="*/ 8670 w 584734"/>
              <a:gd name="connsiteY5" fmla="*/ 576064 h 5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734" h="576064">
                <a:moveTo>
                  <a:pt x="8670" y="576064"/>
                </a:moveTo>
                <a:cubicBezTo>
                  <a:pt x="0" y="574110"/>
                  <a:pt x="13740" y="140848"/>
                  <a:pt x="8670" y="0"/>
                </a:cubicBezTo>
                <a:lnTo>
                  <a:pt x="356704" y="0"/>
                </a:lnTo>
                <a:cubicBezTo>
                  <a:pt x="356704" y="125937"/>
                  <a:pt x="458796" y="228030"/>
                  <a:pt x="584734" y="228030"/>
                </a:cubicBezTo>
                <a:lnTo>
                  <a:pt x="584734" y="576064"/>
                </a:lnTo>
                <a:lnTo>
                  <a:pt x="8670" y="57606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a-DK">
                <a:solidFill>
                  <a:srgbClr val="FFFFFF"/>
                </a:solidFill>
                <a:cs typeface="Arial" charset="0"/>
              </a:rPr>
              <a:t>ç</a:t>
            </a:r>
          </a:p>
        </p:txBody>
      </p:sp>
      <p:pic>
        <p:nvPicPr>
          <p:cNvPr id="27655" name="Content Placeholder 9" descr="_MG_1828_new.jpg"/>
          <p:cNvPicPr>
            <a:picLocks noChangeAspect="1"/>
          </p:cNvPicPr>
          <p:nvPr/>
        </p:nvPicPr>
        <p:blipFill>
          <a:blip r:embed="rId3" cstate="print"/>
          <a:srcRect l="9570" r="29388" b="6779"/>
          <a:stretch>
            <a:fillRect/>
          </a:stretch>
        </p:blipFill>
        <p:spPr bwMode="auto">
          <a:xfrm>
            <a:off x="457200" y="1600200"/>
            <a:ext cx="4114800" cy="4191000"/>
          </a:xfrm>
          <a:prstGeom prst="rect">
            <a:avLst/>
          </a:prstGeom>
          <a:noFill/>
          <a:ln w="9525">
            <a:noFill/>
            <a:miter lim="800000"/>
            <a:headEnd/>
            <a:tailEnd/>
          </a:ln>
        </p:spPr>
      </p:pic>
      <p:sp>
        <p:nvSpPr>
          <p:cNvPr id="12" name="Kombinationstegning 9"/>
          <p:cNvSpPr/>
          <p:nvPr/>
        </p:nvSpPr>
        <p:spPr bwMode="white">
          <a:xfrm>
            <a:off x="101600" y="5559425"/>
            <a:ext cx="584200" cy="574675"/>
          </a:xfrm>
          <a:custGeom>
            <a:avLst/>
            <a:gdLst>
              <a:gd name="connsiteX0" fmla="*/ 0 w 1368152"/>
              <a:gd name="connsiteY0" fmla="*/ 228030 h 1368152"/>
              <a:gd name="connsiteX1" fmla="*/ 228030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8" fmla="*/ 0 w 1368152"/>
              <a:gd name="connsiteY8" fmla="*/ 228030 h 1368152"/>
              <a:gd name="connsiteX0" fmla="*/ 0 w 1368152"/>
              <a:gd name="connsiteY0" fmla="*/ 1140122 h 1368152"/>
              <a:gd name="connsiteX1" fmla="*/ 228030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0" fmla="*/ 0 w 1368152"/>
              <a:gd name="connsiteY0" fmla="*/ 1140122 h 1368152"/>
              <a:gd name="connsiteX1" fmla="*/ 792088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0" fmla="*/ 58006 w 1198128"/>
              <a:gd name="connsiteY0" fmla="*/ 1368152 h 1368152"/>
              <a:gd name="connsiteX1" fmla="*/ 622064 w 1198128"/>
              <a:gd name="connsiteY1" fmla="*/ 0 h 1368152"/>
              <a:gd name="connsiteX2" fmla="*/ 970098 w 1198128"/>
              <a:gd name="connsiteY2" fmla="*/ 0 h 1368152"/>
              <a:gd name="connsiteX3" fmla="*/ 1198128 w 1198128"/>
              <a:gd name="connsiteY3" fmla="*/ 228030 h 1368152"/>
              <a:gd name="connsiteX4" fmla="*/ 1198128 w 1198128"/>
              <a:gd name="connsiteY4" fmla="*/ 1140122 h 1368152"/>
              <a:gd name="connsiteX5" fmla="*/ 970098 w 1198128"/>
              <a:gd name="connsiteY5" fmla="*/ 1368152 h 1368152"/>
              <a:gd name="connsiteX6" fmla="*/ 58006 w 1198128"/>
              <a:gd name="connsiteY6" fmla="*/ 1368152 h 1368152"/>
              <a:gd name="connsiteX0" fmla="*/ 348034 w 576064"/>
              <a:gd name="connsiteY0" fmla="*/ 1368152 h 1368152"/>
              <a:gd name="connsiteX1" fmla="*/ 0 w 576064"/>
              <a:gd name="connsiteY1" fmla="*/ 0 h 1368152"/>
              <a:gd name="connsiteX2" fmla="*/ 348034 w 576064"/>
              <a:gd name="connsiteY2" fmla="*/ 0 h 1368152"/>
              <a:gd name="connsiteX3" fmla="*/ 576064 w 576064"/>
              <a:gd name="connsiteY3" fmla="*/ 228030 h 1368152"/>
              <a:gd name="connsiteX4" fmla="*/ 576064 w 576064"/>
              <a:gd name="connsiteY4" fmla="*/ 1140122 h 1368152"/>
              <a:gd name="connsiteX5" fmla="*/ 348034 w 576064"/>
              <a:gd name="connsiteY5" fmla="*/ 1368152 h 1368152"/>
              <a:gd name="connsiteX0" fmla="*/ 348034 w 576064"/>
              <a:gd name="connsiteY0" fmla="*/ 1368152 h 1368152"/>
              <a:gd name="connsiteX1" fmla="*/ 0 w 576064"/>
              <a:gd name="connsiteY1" fmla="*/ 0 h 1368152"/>
              <a:gd name="connsiteX2" fmla="*/ 348034 w 576064"/>
              <a:gd name="connsiteY2" fmla="*/ 0 h 1368152"/>
              <a:gd name="connsiteX3" fmla="*/ 576064 w 576064"/>
              <a:gd name="connsiteY3" fmla="*/ 228030 h 1368152"/>
              <a:gd name="connsiteX4" fmla="*/ 576064 w 576064"/>
              <a:gd name="connsiteY4" fmla="*/ 576064 h 1368152"/>
              <a:gd name="connsiteX5" fmla="*/ 348034 w 576064"/>
              <a:gd name="connsiteY5" fmla="*/ 1368152 h 1368152"/>
              <a:gd name="connsiteX0" fmla="*/ 0 w 576064"/>
              <a:gd name="connsiteY0" fmla="*/ 648072 h 648072"/>
              <a:gd name="connsiteX1" fmla="*/ 0 w 576064"/>
              <a:gd name="connsiteY1" fmla="*/ 0 h 648072"/>
              <a:gd name="connsiteX2" fmla="*/ 348034 w 576064"/>
              <a:gd name="connsiteY2" fmla="*/ 0 h 648072"/>
              <a:gd name="connsiteX3" fmla="*/ 576064 w 576064"/>
              <a:gd name="connsiteY3" fmla="*/ 228030 h 648072"/>
              <a:gd name="connsiteX4" fmla="*/ 576064 w 576064"/>
              <a:gd name="connsiteY4" fmla="*/ 576064 h 648072"/>
              <a:gd name="connsiteX5" fmla="*/ 0 w 576064"/>
              <a:gd name="connsiteY5" fmla="*/ 648072 h 648072"/>
              <a:gd name="connsiteX0" fmla="*/ 1182 w 577246"/>
              <a:gd name="connsiteY0" fmla="*/ 648072 h 665362"/>
              <a:gd name="connsiteX1" fmla="*/ 1182 w 577246"/>
              <a:gd name="connsiteY1" fmla="*/ 0 h 665362"/>
              <a:gd name="connsiteX2" fmla="*/ 349216 w 577246"/>
              <a:gd name="connsiteY2" fmla="*/ 0 h 665362"/>
              <a:gd name="connsiteX3" fmla="*/ 577246 w 577246"/>
              <a:gd name="connsiteY3" fmla="*/ 228030 h 665362"/>
              <a:gd name="connsiteX4" fmla="*/ 577246 w 577246"/>
              <a:gd name="connsiteY4" fmla="*/ 576064 h 665362"/>
              <a:gd name="connsiteX5" fmla="*/ 1182 w 577246"/>
              <a:gd name="connsiteY5" fmla="*/ 648072 h 665362"/>
              <a:gd name="connsiteX0" fmla="*/ 1182 w 577246"/>
              <a:gd name="connsiteY0" fmla="*/ 648072 h 665362"/>
              <a:gd name="connsiteX1" fmla="*/ 1182 w 577246"/>
              <a:gd name="connsiteY1" fmla="*/ 0 h 665362"/>
              <a:gd name="connsiteX2" fmla="*/ 349216 w 577246"/>
              <a:gd name="connsiteY2" fmla="*/ 0 h 665362"/>
              <a:gd name="connsiteX3" fmla="*/ 577246 w 577246"/>
              <a:gd name="connsiteY3" fmla="*/ 228030 h 665362"/>
              <a:gd name="connsiteX4" fmla="*/ 577246 w 577246"/>
              <a:gd name="connsiteY4" fmla="*/ 576064 h 665362"/>
              <a:gd name="connsiteX5" fmla="*/ 1182 w 577246"/>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1182 w 1081302"/>
              <a:gd name="connsiteY0" fmla="*/ 576064 h 593354"/>
              <a:gd name="connsiteX1" fmla="*/ 505238 w 1081302"/>
              <a:gd name="connsiteY1" fmla="*/ 0 h 593354"/>
              <a:gd name="connsiteX2" fmla="*/ 853272 w 1081302"/>
              <a:gd name="connsiteY2" fmla="*/ 0 h 593354"/>
              <a:gd name="connsiteX3" fmla="*/ 1081302 w 1081302"/>
              <a:gd name="connsiteY3" fmla="*/ 228030 h 593354"/>
              <a:gd name="connsiteX4" fmla="*/ 1081302 w 1081302"/>
              <a:gd name="connsiteY4" fmla="*/ 576064 h 593354"/>
              <a:gd name="connsiteX5" fmla="*/ 1182 w 1081302"/>
              <a:gd name="connsiteY5" fmla="*/ 576064 h 593354"/>
              <a:gd name="connsiteX0" fmla="*/ 1182 w 649254"/>
              <a:gd name="connsiteY0" fmla="*/ 936104 h 953394"/>
              <a:gd name="connsiteX1" fmla="*/ 73190 w 649254"/>
              <a:gd name="connsiteY1" fmla="*/ 0 h 953394"/>
              <a:gd name="connsiteX2" fmla="*/ 421224 w 649254"/>
              <a:gd name="connsiteY2" fmla="*/ 0 h 953394"/>
              <a:gd name="connsiteX3" fmla="*/ 649254 w 649254"/>
              <a:gd name="connsiteY3" fmla="*/ 228030 h 953394"/>
              <a:gd name="connsiteX4" fmla="*/ 649254 w 649254"/>
              <a:gd name="connsiteY4" fmla="*/ 576064 h 953394"/>
              <a:gd name="connsiteX5" fmla="*/ 1182 w 649254"/>
              <a:gd name="connsiteY5" fmla="*/ 936104 h 953394"/>
              <a:gd name="connsiteX0" fmla="*/ 1182 w 865278"/>
              <a:gd name="connsiteY0" fmla="*/ 792088 h 809378"/>
              <a:gd name="connsiteX1" fmla="*/ 289214 w 865278"/>
              <a:gd name="connsiteY1" fmla="*/ 0 h 809378"/>
              <a:gd name="connsiteX2" fmla="*/ 637248 w 865278"/>
              <a:gd name="connsiteY2" fmla="*/ 0 h 809378"/>
              <a:gd name="connsiteX3" fmla="*/ 865278 w 865278"/>
              <a:gd name="connsiteY3" fmla="*/ 228030 h 809378"/>
              <a:gd name="connsiteX4" fmla="*/ 865278 w 865278"/>
              <a:gd name="connsiteY4" fmla="*/ 576064 h 809378"/>
              <a:gd name="connsiteX5" fmla="*/ 1182 w 865278"/>
              <a:gd name="connsiteY5" fmla="*/ 792088 h 809378"/>
              <a:gd name="connsiteX0" fmla="*/ 0 w 864096"/>
              <a:gd name="connsiteY0" fmla="*/ 792088 h 1227997"/>
              <a:gd name="connsiteX1" fmla="*/ 288032 w 864096"/>
              <a:gd name="connsiteY1" fmla="*/ 0 h 1227997"/>
              <a:gd name="connsiteX2" fmla="*/ 636066 w 864096"/>
              <a:gd name="connsiteY2" fmla="*/ 0 h 1227997"/>
              <a:gd name="connsiteX3" fmla="*/ 864096 w 864096"/>
              <a:gd name="connsiteY3" fmla="*/ 228030 h 1227997"/>
              <a:gd name="connsiteX4" fmla="*/ 864096 w 864096"/>
              <a:gd name="connsiteY4" fmla="*/ 576064 h 1227997"/>
              <a:gd name="connsiteX5" fmla="*/ 0 w 864096"/>
              <a:gd name="connsiteY5" fmla="*/ 792088 h 1227997"/>
              <a:gd name="connsiteX0" fmla="*/ 200165 w 1064261"/>
              <a:gd name="connsiteY0" fmla="*/ 792088 h 1227997"/>
              <a:gd name="connsiteX1" fmla="*/ 488197 w 1064261"/>
              <a:gd name="connsiteY1" fmla="*/ 0 h 1227997"/>
              <a:gd name="connsiteX2" fmla="*/ 836231 w 1064261"/>
              <a:gd name="connsiteY2" fmla="*/ 0 h 1227997"/>
              <a:gd name="connsiteX3" fmla="*/ 1064261 w 1064261"/>
              <a:gd name="connsiteY3" fmla="*/ 228030 h 1227997"/>
              <a:gd name="connsiteX4" fmla="*/ 1064261 w 1064261"/>
              <a:gd name="connsiteY4" fmla="*/ 576064 h 1227997"/>
              <a:gd name="connsiteX5" fmla="*/ 200165 w 1064261"/>
              <a:gd name="connsiteY5" fmla="*/ 792088 h 1227997"/>
              <a:gd name="connsiteX0" fmla="*/ 200165 w 1064261"/>
              <a:gd name="connsiteY0" fmla="*/ 792088 h 1227997"/>
              <a:gd name="connsiteX1" fmla="*/ 488197 w 1064261"/>
              <a:gd name="connsiteY1" fmla="*/ 0 h 1227997"/>
              <a:gd name="connsiteX2" fmla="*/ 836231 w 1064261"/>
              <a:gd name="connsiteY2" fmla="*/ 0 h 1227997"/>
              <a:gd name="connsiteX3" fmla="*/ 1064261 w 1064261"/>
              <a:gd name="connsiteY3" fmla="*/ 228030 h 1227997"/>
              <a:gd name="connsiteX4" fmla="*/ 1064261 w 1064261"/>
              <a:gd name="connsiteY4" fmla="*/ 576064 h 1227997"/>
              <a:gd name="connsiteX5" fmla="*/ 200165 w 1064261"/>
              <a:gd name="connsiteY5" fmla="*/ 792088 h 1227997"/>
              <a:gd name="connsiteX0" fmla="*/ 200165 w 1064261"/>
              <a:gd name="connsiteY0" fmla="*/ 792088 h 1265492"/>
              <a:gd name="connsiteX1" fmla="*/ 488197 w 1064261"/>
              <a:gd name="connsiteY1" fmla="*/ 0 h 1265492"/>
              <a:gd name="connsiteX2" fmla="*/ 836231 w 1064261"/>
              <a:gd name="connsiteY2" fmla="*/ 0 h 1265492"/>
              <a:gd name="connsiteX3" fmla="*/ 1064261 w 1064261"/>
              <a:gd name="connsiteY3" fmla="*/ 228030 h 1265492"/>
              <a:gd name="connsiteX4" fmla="*/ 1064261 w 1064261"/>
              <a:gd name="connsiteY4" fmla="*/ 576064 h 1265492"/>
              <a:gd name="connsiteX5" fmla="*/ 200165 w 1064261"/>
              <a:gd name="connsiteY5" fmla="*/ 792088 h 1265492"/>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576064"/>
              <a:gd name="connsiteX1" fmla="*/ 200164 w 776228"/>
              <a:gd name="connsiteY1" fmla="*/ 0 h 576064"/>
              <a:gd name="connsiteX2" fmla="*/ 548198 w 776228"/>
              <a:gd name="connsiteY2" fmla="*/ 0 h 576064"/>
              <a:gd name="connsiteX3" fmla="*/ 776228 w 776228"/>
              <a:gd name="connsiteY3" fmla="*/ 228030 h 576064"/>
              <a:gd name="connsiteX4" fmla="*/ 776228 w 776228"/>
              <a:gd name="connsiteY4" fmla="*/ 576064 h 576064"/>
              <a:gd name="connsiteX5" fmla="*/ 200165 w 776228"/>
              <a:gd name="connsiteY5" fmla="*/ 576063 h 576064"/>
              <a:gd name="connsiteX0" fmla="*/ 58007 w 634070"/>
              <a:gd name="connsiteY0" fmla="*/ 576063 h 586290"/>
              <a:gd name="connsiteX1" fmla="*/ 58006 w 634070"/>
              <a:gd name="connsiteY1" fmla="*/ 0 h 586290"/>
              <a:gd name="connsiteX2" fmla="*/ 406040 w 634070"/>
              <a:gd name="connsiteY2" fmla="*/ 0 h 586290"/>
              <a:gd name="connsiteX3" fmla="*/ 634070 w 634070"/>
              <a:gd name="connsiteY3" fmla="*/ 228030 h 586290"/>
              <a:gd name="connsiteX4" fmla="*/ 634070 w 634070"/>
              <a:gd name="connsiteY4" fmla="*/ 576064 h 586290"/>
              <a:gd name="connsiteX5" fmla="*/ 58007 w 634070"/>
              <a:gd name="connsiteY5" fmla="*/ 576063 h 586290"/>
              <a:gd name="connsiteX0" fmla="*/ 0 w 1008112"/>
              <a:gd name="connsiteY0" fmla="*/ 576064 h 586291"/>
              <a:gd name="connsiteX1" fmla="*/ 432048 w 1008112"/>
              <a:gd name="connsiteY1" fmla="*/ 0 h 586291"/>
              <a:gd name="connsiteX2" fmla="*/ 780082 w 1008112"/>
              <a:gd name="connsiteY2" fmla="*/ 0 h 586291"/>
              <a:gd name="connsiteX3" fmla="*/ 1008112 w 1008112"/>
              <a:gd name="connsiteY3" fmla="*/ 228030 h 586291"/>
              <a:gd name="connsiteX4" fmla="*/ 1008112 w 1008112"/>
              <a:gd name="connsiteY4" fmla="*/ 576064 h 586291"/>
              <a:gd name="connsiteX5" fmla="*/ 0 w 1008112"/>
              <a:gd name="connsiteY5" fmla="*/ 576064 h 586291"/>
              <a:gd name="connsiteX0" fmla="*/ 0 w 1440160"/>
              <a:gd name="connsiteY0" fmla="*/ 720080 h 730307"/>
              <a:gd name="connsiteX1" fmla="*/ 864096 w 1440160"/>
              <a:gd name="connsiteY1" fmla="*/ 0 h 730307"/>
              <a:gd name="connsiteX2" fmla="*/ 1212130 w 1440160"/>
              <a:gd name="connsiteY2" fmla="*/ 0 h 730307"/>
              <a:gd name="connsiteX3" fmla="*/ 1440160 w 1440160"/>
              <a:gd name="connsiteY3" fmla="*/ 228030 h 730307"/>
              <a:gd name="connsiteX4" fmla="*/ 1440160 w 1440160"/>
              <a:gd name="connsiteY4" fmla="*/ 576064 h 730307"/>
              <a:gd name="connsiteX5" fmla="*/ 0 w 1440160"/>
              <a:gd name="connsiteY5" fmla="*/ 720080 h 730307"/>
              <a:gd name="connsiteX0" fmla="*/ 0 w 1440160"/>
              <a:gd name="connsiteY0" fmla="*/ 720080 h 720080"/>
              <a:gd name="connsiteX1" fmla="*/ 864096 w 1440160"/>
              <a:gd name="connsiteY1" fmla="*/ 0 h 720080"/>
              <a:gd name="connsiteX2" fmla="*/ 1212130 w 1440160"/>
              <a:gd name="connsiteY2" fmla="*/ 0 h 720080"/>
              <a:gd name="connsiteX3" fmla="*/ 1440160 w 1440160"/>
              <a:gd name="connsiteY3" fmla="*/ 228030 h 720080"/>
              <a:gd name="connsiteX4" fmla="*/ 1440160 w 1440160"/>
              <a:gd name="connsiteY4" fmla="*/ 576064 h 720080"/>
              <a:gd name="connsiteX5" fmla="*/ 0 w 1440160"/>
              <a:gd name="connsiteY5" fmla="*/ 720080 h 720080"/>
              <a:gd name="connsiteX0" fmla="*/ 0 w 862092"/>
              <a:gd name="connsiteY0" fmla="*/ 715763 h 715763"/>
              <a:gd name="connsiteX1" fmla="*/ 72008 w 862092"/>
              <a:gd name="connsiteY1" fmla="*/ 139699 h 715763"/>
              <a:gd name="connsiteX2" fmla="*/ 420042 w 862092"/>
              <a:gd name="connsiteY2" fmla="*/ 139699 h 715763"/>
              <a:gd name="connsiteX3" fmla="*/ 648072 w 862092"/>
              <a:gd name="connsiteY3" fmla="*/ 367729 h 715763"/>
              <a:gd name="connsiteX4" fmla="*/ 648072 w 862092"/>
              <a:gd name="connsiteY4" fmla="*/ 715763 h 715763"/>
              <a:gd name="connsiteX5" fmla="*/ 0 w 862092"/>
              <a:gd name="connsiteY5" fmla="*/ 715763 h 715763"/>
              <a:gd name="connsiteX0" fmla="*/ 8670 w 656742"/>
              <a:gd name="connsiteY0" fmla="*/ 576064 h 576064"/>
              <a:gd name="connsiteX1" fmla="*/ 80678 w 656742"/>
              <a:gd name="connsiteY1" fmla="*/ 0 h 576064"/>
              <a:gd name="connsiteX2" fmla="*/ 428712 w 656742"/>
              <a:gd name="connsiteY2" fmla="*/ 0 h 576064"/>
              <a:gd name="connsiteX3" fmla="*/ 656742 w 656742"/>
              <a:gd name="connsiteY3" fmla="*/ 228030 h 576064"/>
              <a:gd name="connsiteX4" fmla="*/ 656742 w 656742"/>
              <a:gd name="connsiteY4" fmla="*/ 576064 h 576064"/>
              <a:gd name="connsiteX5" fmla="*/ 8670 w 656742"/>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8670 w 584734"/>
              <a:gd name="connsiteY0" fmla="*/ 576064 h 576064"/>
              <a:gd name="connsiteX1" fmla="*/ 8670 w 584734"/>
              <a:gd name="connsiteY1" fmla="*/ 0 h 576064"/>
              <a:gd name="connsiteX2" fmla="*/ 356704 w 584734"/>
              <a:gd name="connsiteY2" fmla="*/ 0 h 576064"/>
              <a:gd name="connsiteX3" fmla="*/ 584734 w 584734"/>
              <a:gd name="connsiteY3" fmla="*/ 228030 h 576064"/>
              <a:gd name="connsiteX4" fmla="*/ 584734 w 584734"/>
              <a:gd name="connsiteY4" fmla="*/ 576064 h 576064"/>
              <a:gd name="connsiteX5" fmla="*/ 8670 w 584734"/>
              <a:gd name="connsiteY5" fmla="*/ 576064 h 5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734" h="576064">
                <a:moveTo>
                  <a:pt x="8670" y="576064"/>
                </a:moveTo>
                <a:cubicBezTo>
                  <a:pt x="0" y="574110"/>
                  <a:pt x="13740" y="140848"/>
                  <a:pt x="8670" y="0"/>
                </a:cubicBezTo>
                <a:lnTo>
                  <a:pt x="356704" y="0"/>
                </a:lnTo>
                <a:cubicBezTo>
                  <a:pt x="356704" y="125937"/>
                  <a:pt x="458796" y="228030"/>
                  <a:pt x="584734" y="228030"/>
                </a:cubicBezTo>
                <a:lnTo>
                  <a:pt x="584734" y="576064"/>
                </a:lnTo>
                <a:lnTo>
                  <a:pt x="8670" y="57606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a-DK">
                <a:solidFill>
                  <a:srgbClr val="FFFFFF"/>
                </a:solidFill>
                <a:cs typeface="Arial" charset="0"/>
              </a:rPr>
              <a:t>ç</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3429000" y="274638"/>
            <a:ext cx="5257800" cy="993775"/>
          </a:xfrm>
        </p:spPr>
        <p:txBody>
          <a:bodyPr/>
          <a:lstStyle/>
          <a:p>
            <a:r>
              <a:rPr lang="es-CO" sz="2200" dirty="0" smtClean="0">
                <a:ea typeface="ＭＳ Ｐゴシック" pitchFamily="34" charset="-128"/>
              </a:rPr>
              <a:t>Habilidad para balancear costos, Huella de CO2 y tiempo de entrega</a:t>
            </a:r>
          </a:p>
        </p:txBody>
      </p:sp>
      <p:pic>
        <p:nvPicPr>
          <p:cNvPr id="29699" name="Picture 2" descr="1_Airplane_green"/>
          <p:cNvPicPr>
            <a:picLocks noChangeAspect="1" noChangeArrowheads="1"/>
          </p:cNvPicPr>
          <p:nvPr/>
        </p:nvPicPr>
        <p:blipFill>
          <a:blip r:embed="rId3" cstate="print"/>
          <a:srcRect/>
          <a:stretch>
            <a:fillRect/>
          </a:stretch>
        </p:blipFill>
        <p:spPr bwMode="auto">
          <a:xfrm>
            <a:off x="1293813" y="2724150"/>
            <a:ext cx="1006475" cy="609600"/>
          </a:xfrm>
          <a:prstGeom prst="rect">
            <a:avLst/>
          </a:prstGeom>
          <a:noFill/>
          <a:ln w="9525">
            <a:noFill/>
            <a:miter lim="800000"/>
            <a:headEnd/>
            <a:tailEnd/>
          </a:ln>
        </p:spPr>
      </p:pic>
      <p:pic>
        <p:nvPicPr>
          <p:cNvPr id="29700" name="Picture 3" descr="16"/>
          <p:cNvPicPr>
            <a:picLocks noChangeAspect="1" noChangeArrowheads="1"/>
          </p:cNvPicPr>
          <p:nvPr/>
        </p:nvPicPr>
        <p:blipFill>
          <a:blip r:embed="rId4" cstate="print"/>
          <a:srcRect/>
          <a:stretch>
            <a:fillRect/>
          </a:stretch>
        </p:blipFill>
        <p:spPr bwMode="auto">
          <a:xfrm>
            <a:off x="6330950" y="5105400"/>
            <a:ext cx="1162050" cy="525463"/>
          </a:xfrm>
          <a:prstGeom prst="rect">
            <a:avLst/>
          </a:prstGeom>
          <a:noFill/>
          <a:ln w="9525">
            <a:noFill/>
            <a:miter lim="800000"/>
            <a:headEnd/>
            <a:tailEnd/>
          </a:ln>
        </p:spPr>
      </p:pic>
      <p:sp>
        <p:nvSpPr>
          <p:cNvPr id="7" name="Line 5"/>
          <p:cNvSpPr>
            <a:spLocks noChangeShapeType="1"/>
          </p:cNvSpPr>
          <p:nvPr/>
        </p:nvSpPr>
        <p:spPr bwMode="auto">
          <a:xfrm>
            <a:off x="935038" y="5783263"/>
            <a:ext cx="6497637" cy="9525"/>
          </a:xfrm>
          <a:prstGeom prst="line">
            <a:avLst/>
          </a:prstGeom>
          <a:noFill/>
          <a:ln w="50800">
            <a:solidFill>
              <a:schemeClr val="accent5"/>
            </a:solidFill>
            <a:round/>
            <a:headEnd/>
            <a:tailEnd/>
          </a:ln>
          <a:effectLst/>
        </p:spPr>
        <p:txBody>
          <a:bodyPr/>
          <a:lstStyle/>
          <a:p>
            <a:pPr>
              <a:defRPr/>
            </a:pPr>
            <a:endParaRPr lang="en-US">
              <a:solidFill>
                <a:srgbClr val="000000"/>
              </a:solidFill>
              <a:ea typeface="Arial" charset="0"/>
            </a:endParaRPr>
          </a:p>
        </p:txBody>
      </p:sp>
      <p:sp>
        <p:nvSpPr>
          <p:cNvPr id="29702" name="Text Box 6"/>
          <p:cNvSpPr txBox="1">
            <a:spLocks noChangeArrowheads="1"/>
          </p:cNvSpPr>
          <p:nvPr/>
        </p:nvSpPr>
        <p:spPr bwMode="auto">
          <a:xfrm>
            <a:off x="1133475" y="5773738"/>
            <a:ext cx="7400925" cy="304800"/>
          </a:xfrm>
          <a:prstGeom prst="rect">
            <a:avLst/>
          </a:prstGeom>
          <a:noFill/>
          <a:ln w="9525">
            <a:noFill/>
            <a:miter lim="800000"/>
            <a:headEnd/>
            <a:tailEnd/>
          </a:ln>
        </p:spPr>
        <p:txBody>
          <a:bodyPr>
            <a:spAutoFit/>
          </a:bodyPr>
          <a:lstStyle/>
          <a:p>
            <a:pPr>
              <a:spcBef>
                <a:spcPct val="50000"/>
              </a:spcBef>
            </a:pPr>
            <a:r>
              <a:rPr lang="en-GB" sz="1400">
                <a:solidFill>
                  <a:srgbClr val="333333"/>
                </a:solidFill>
                <a:latin typeface="Verdana" pitchFamily="34" charset="0"/>
                <a:ea typeface="ＭＳ Ｐゴシック" pitchFamily="34" charset="-128"/>
              </a:rPr>
              <a:t>					          </a:t>
            </a:r>
            <a:r>
              <a:rPr lang="en-GB" sz="1400">
                <a:solidFill>
                  <a:srgbClr val="333333"/>
                </a:solidFill>
                <a:ea typeface="ＭＳ Ｐゴシック" pitchFamily="34" charset="-128"/>
              </a:rPr>
              <a:t>Transit</a:t>
            </a:r>
            <a:r>
              <a:rPr lang="en-GB" sz="1400">
                <a:solidFill>
                  <a:srgbClr val="333333"/>
                </a:solidFill>
                <a:latin typeface="Verdana" pitchFamily="34" charset="0"/>
                <a:ea typeface="ＭＳ Ｐゴシック" pitchFamily="34" charset="-128"/>
              </a:rPr>
              <a:t> time (days)</a:t>
            </a:r>
          </a:p>
        </p:txBody>
      </p:sp>
      <p:sp>
        <p:nvSpPr>
          <p:cNvPr id="9" name="Line 7"/>
          <p:cNvSpPr>
            <a:spLocks noChangeShapeType="1"/>
          </p:cNvSpPr>
          <p:nvPr/>
        </p:nvSpPr>
        <p:spPr bwMode="auto">
          <a:xfrm rot="5400000">
            <a:off x="-995363" y="3827463"/>
            <a:ext cx="3914775" cy="0"/>
          </a:xfrm>
          <a:prstGeom prst="line">
            <a:avLst/>
          </a:prstGeom>
          <a:noFill/>
          <a:ln w="50800">
            <a:solidFill>
              <a:schemeClr val="accent5"/>
            </a:solidFill>
            <a:round/>
            <a:headEnd/>
            <a:tailEnd/>
          </a:ln>
          <a:effectLst/>
        </p:spPr>
        <p:txBody>
          <a:bodyPr/>
          <a:lstStyle/>
          <a:p>
            <a:pPr>
              <a:defRPr/>
            </a:pPr>
            <a:endParaRPr lang="en-US">
              <a:solidFill>
                <a:srgbClr val="000000"/>
              </a:solidFill>
              <a:ea typeface="Arial" charset="0"/>
            </a:endParaRPr>
          </a:p>
        </p:txBody>
      </p:sp>
      <p:sp>
        <p:nvSpPr>
          <p:cNvPr id="29704" name="Text Box 8"/>
          <p:cNvSpPr txBox="1">
            <a:spLocks noChangeArrowheads="1"/>
          </p:cNvSpPr>
          <p:nvPr/>
        </p:nvSpPr>
        <p:spPr bwMode="auto">
          <a:xfrm>
            <a:off x="444500" y="1524000"/>
            <a:ext cx="1241425" cy="304800"/>
          </a:xfrm>
          <a:prstGeom prst="rect">
            <a:avLst/>
          </a:prstGeom>
          <a:noFill/>
          <a:ln w="9525">
            <a:noFill/>
            <a:miter lim="800000"/>
            <a:headEnd/>
            <a:tailEnd/>
          </a:ln>
        </p:spPr>
        <p:txBody>
          <a:bodyPr lIns="0" rIns="0">
            <a:spAutoFit/>
          </a:bodyPr>
          <a:lstStyle/>
          <a:p>
            <a:pPr>
              <a:spcBef>
                <a:spcPct val="50000"/>
              </a:spcBef>
            </a:pPr>
            <a:r>
              <a:rPr lang="en-GB" sz="1400">
                <a:solidFill>
                  <a:srgbClr val="333333"/>
                </a:solidFill>
                <a:ea typeface="ＭＳ Ｐゴシック" pitchFamily="34" charset="-128"/>
              </a:rPr>
              <a:t>Cost &amp; CO</a:t>
            </a:r>
            <a:r>
              <a:rPr lang="en-GB" sz="1400" baseline="-25000">
                <a:solidFill>
                  <a:srgbClr val="333333"/>
                </a:solidFill>
                <a:ea typeface="ＭＳ Ｐゴシック" pitchFamily="34" charset="-128"/>
              </a:rPr>
              <a:t>2</a:t>
            </a:r>
          </a:p>
        </p:txBody>
      </p:sp>
      <p:sp>
        <p:nvSpPr>
          <p:cNvPr id="11" name="Freeform 9"/>
          <p:cNvSpPr>
            <a:spLocks/>
          </p:cNvSpPr>
          <p:nvPr/>
        </p:nvSpPr>
        <p:spPr bwMode="auto">
          <a:xfrm>
            <a:off x="989013" y="2413000"/>
            <a:ext cx="5546725" cy="2671763"/>
          </a:xfrm>
          <a:custGeom>
            <a:avLst/>
            <a:gdLst>
              <a:gd name="T0" fmla="*/ 0 w 3448"/>
              <a:gd name="T1" fmla="*/ 0 h 1542"/>
              <a:gd name="T2" fmla="*/ 2147483647 w 3448"/>
              <a:gd name="T3" fmla="*/ 681479762 h 1542"/>
              <a:gd name="T4" fmla="*/ 2147483647 w 3448"/>
              <a:gd name="T5" fmla="*/ 2147483647 h 1542"/>
              <a:gd name="T6" fmla="*/ 2147483647 w 3448"/>
              <a:gd name="T7" fmla="*/ 2147483647 h 1542"/>
              <a:gd name="T8" fmla="*/ 0 60000 65536"/>
              <a:gd name="T9" fmla="*/ 0 60000 65536"/>
              <a:gd name="T10" fmla="*/ 0 60000 65536"/>
              <a:gd name="T11" fmla="*/ 0 60000 65536"/>
              <a:gd name="T12" fmla="*/ 0 w 3448"/>
              <a:gd name="T13" fmla="*/ 0 h 1542"/>
              <a:gd name="T14" fmla="*/ 3448 w 3448"/>
              <a:gd name="T15" fmla="*/ 1542 h 1542"/>
            </a:gdLst>
            <a:ahLst/>
            <a:cxnLst>
              <a:cxn ang="T8">
                <a:pos x="T0" y="T1"/>
              </a:cxn>
              <a:cxn ang="T9">
                <a:pos x="T2" y="T3"/>
              </a:cxn>
              <a:cxn ang="T10">
                <a:pos x="T4" y="T5"/>
              </a:cxn>
              <a:cxn ang="T11">
                <a:pos x="T6" y="T7"/>
              </a:cxn>
            </a:cxnLst>
            <a:rect l="T12" t="T13" r="T14" b="T15"/>
            <a:pathLst>
              <a:path w="3448" h="1542">
                <a:moveTo>
                  <a:pt x="0" y="0"/>
                </a:moveTo>
                <a:cubicBezTo>
                  <a:pt x="484" y="19"/>
                  <a:pt x="968" y="38"/>
                  <a:pt x="1361" y="227"/>
                </a:cubicBezTo>
                <a:cubicBezTo>
                  <a:pt x="1754" y="416"/>
                  <a:pt x="2011" y="915"/>
                  <a:pt x="2359" y="1134"/>
                </a:cubicBezTo>
                <a:cubicBezTo>
                  <a:pt x="2707" y="1353"/>
                  <a:pt x="3077" y="1447"/>
                  <a:pt x="3448" y="1542"/>
                </a:cubicBezTo>
              </a:path>
            </a:pathLst>
          </a:custGeom>
          <a:noFill/>
          <a:ln w="38100">
            <a:solidFill>
              <a:schemeClr val="accent2"/>
            </a:solidFill>
            <a:round/>
            <a:headEnd/>
            <a:tailEnd/>
          </a:ln>
        </p:spPr>
        <p:txBody>
          <a:bodyPr/>
          <a:lstStyle/>
          <a:p>
            <a:endParaRPr lang="en-US">
              <a:solidFill>
                <a:srgbClr val="000000"/>
              </a:solidFill>
            </a:endParaRPr>
          </a:p>
        </p:txBody>
      </p:sp>
      <p:sp>
        <p:nvSpPr>
          <p:cNvPr id="29706" name="Line 10"/>
          <p:cNvSpPr>
            <a:spLocks noChangeShapeType="1"/>
          </p:cNvSpPr>
          <p:nvPr/>
        </p:nvSpPr>
        <p:spPr bwMode="auto">
          <a:xfrm>
            <a:off x="2719388" y="2474913"/>
            <a:ext cx="0" cy="3311525"/>
          </a:xfrm>
          <a:prstGeom prst="line">
            <a:avLst/>
          </a:prstGeom>
          <a:noFill/>
          <a:ln w="25400">
            <a:solidFill>
              <a:schemeClr val="folHlink"/>
            </a:solidFill>
            <a:prstDash val="dash"/>
            <a:round/>
            <a:headEnd/>
            <a:tailEnd/>
          </a:ln>
        </p:spPr>
        <p:txBody>
          <a:bodyPr/>
          <a:lstStyle/>
          <a:p>
            <a:endParaRPr lang="da-DK"/>
          </a:p>
        </p:txBody>
      </p:sp>
      <p:sp>
        <p:nvSpPr>
          <p:cNvPr id="29707" name="Line 11"/>
          <p:cNvSpPr>
            <a:spLocks noChangeShapeType="1"/>
          </p:cNvSpPr>
          <p:nvPr/>
        </p:nvSpPr>
        <p:spPr bwMode="auto">
          <a:xfrm>
            <a:off x="5095875" y="2471738"/>
            <a:ext cx="0" cy="3311525"/>
          </a:xfrm>
          <a:prstGeom prst="line">
            <a:avLst/>
          </a:prstGeom>
          <a:noFill/>
          <a:ln w="25400">
            <a:solidFill>
              <a:schemeClr val="folHlink"/>
            </a:solidFill>
            <a:prstDash val="dash"/>
            <a:round/>
            <a:headEnd/>
            <a:tailEnd/>
          </a:ln>
        </p:spPr>
        <p:txBody>
          <a:bodyPr/>
          <a:lstStyle/>
          <a:p>
            <a:endParaRPr lang="da-DK"/>
          </a:p>
        </p:txBody>
      </p:sp>
      <p:sp>
        <p:nvSpPr>
          <p:cNvPr id="29708" name="Text Box 12"/>
          <p:cNvSpPr txBox="1">
            <a:spLocks noChangeArrowheads="1"/>
          </p:cNvSpPr>
          <p:nvPr/>
        </p:nvSpPr>
        <p:spPr bwMode="auto">
          <a:xfrm>
            <a:off x="1677988" y="5381625"/>
            <a:ext cx="4622800" cy="276225"/>
          </a:xfrm>
          <a:prstGeom prst="rect">
            <a:avLst/>
          </a:prstGeom>
          <a:noFill/>
          <a:ln w="9525">
            <a:noFill/>
            <a:miter lim="800000"/>
            <a:headEnd/>
            <a:tailEnd/>
          </a:ln>
        </p:spPr>
        <p:txBody>
          <a:bodyPr>
            <a:spAutoFit/>
          </a:bodyPr>
          <a:lstStyle/>
          <a:p>
            <a:pPr>
              <a:spcBef>
                <a:spcPct val="50000"/>
              </a:spcBef>
              <a:spcAft>
                <a:spcPct val="20000"/>
              </a:spcAft>
            </a:pPr>
            <a:r>
              <a:rPr lang="en-GB" sz="1200" b="1">
                <a:solidFill>
                  <a:srgbClr val="333333"/>
                </a:solidFill>
                <a:ea typeface="ＭＳ Ｐゴシック" pitchFamily="34" charset="-128"/>
              </a:rPr>
              <a:t>Air 		Sea-air	         	Ocean</a:t>
            </a:r>
          </a:p>
        </p:txBody>
      </p:sp>
      <p:sp>
        <p:nvSpPr>
          <p:cNvPr id="29709" name="Text Box 13"/>
          <p:cNvSpPr txBox="1">
            <a:spLocks noChangeArrowheads="1"/>
          </p:cNvSpPr>
          <p:nvPr/>
        </p:nvSpPr>
        <p:spPr bwMode="auto">
          <a:xfrm>
            <a:off x="990600" y="5773738"/>
            <a:ext cx="5402263" cy="307975"/>
          </a:xfrm>
          <a:prstGeom prst="rect">
            <a:avLst/>
          </a:prstGeom>
          <a:noFill/>
          <a:ln w="9525">
            <a:noFill/>
            <a:miter lim="800000"/>
            <a:headEnd/>
            <a:tailEnd/>
          </a:ln>
        </p:spPr>
        <p:txBody>
          <a:bodyPr>
            <a:spAutoFit/>
          </a:bodyPr>
          <a:lstStyle/>
          <a:p>
            <a:pPr>
              <a:spcBef>
                <a:spcPct val="50000"/>
              </a:spcBef>
            </a:pPr>
            <a:r>
              <a:rPr lang="en-GB" sz="1400">
                <a:solidFill>
                  <a:srgbClr val="333333"/>
                </a:solidFill>
                <a:ea typeface="ＭＳ Ｐゴシック" pitchFamily="34" charset="-128"/>
              </a:rPr>
              <a:t>1	5	10	15	25	30</a:t>
            </a:r>
          </a:p>
        </p:txBody>
      </p:sp>
      <p:sp>
        <p:nvSpPr>
          <p:cNvPr id="29710" name="Text Box 14"/>
          <p:cNvSpPr txBox="1">
            <a:spLocks noChangeArrowheads="1"/>
          </p:cNvSpPr>
          <p:nvPr/>
        </p:nvSpPr>
        <p:spPr bwMode="auto">
          <a:xfrm>
            <a:off x="1166813" y="3802063"/>
            <a:ext cx="1428750" cy="1082675"/>
          </a:xfrm>
          <a:prstGeom prst="rect">
            <a:avLst/>
          </a:prstGeom>
          <a:noFill/>
          <a:ln w="9525">
            <a:noFill/>
            <a:miter lim="800000"/>
            <a:headEnd/>
            <a:tailEnd/>
          </a:ln>
        </p:spPr>
        <p:txBody>
          <a:bodyPr>
            <a:spAutoFit/>
          </a:bodyPr>
          <a:lstStyle/>
          <a:p>
            <a:pPr>
              <a:spcBef>
                <a:spcPct val="50000"/>
              </a:spcBef>
            </a:pPr>
            <a:r>
              <a:rPr lang="en-US" sz="1000">
                <a:solidFill>
                  <a:srgbClr val="333333"/>
                </a:solidFill>
              </a:rPr>
              <a:t>Example:</a:t>
            </a:r>
          </a:p>
          <a:p>
            <a:pPr>
              <a:spcBef>
                <a:spcPct val="50000"/>
              </a:spcBef>
            </a:pPr>
            <a:r>
              <a:rPr lang="en-US" sz="1000">
                <a:solidFill>
                  <a:srgbClr val="333333"/>
                </a:solidFill>
              </a:rPr>
              <a:t>Peak direct Air Rates to Northern Europe are in the $2.75/kg. all-in range, with a transit time of 2 days. </a:t>
            </a:r>
          </a:p>
        </p:txBody>
      </p:sp>
      <p:sp>
        <p:nvSpPr>
          <p:cNvPr id="29711" name="Text Box 15"/>
          <p:cNvSpPr txBox="1">
            <a:spLocks noChangeArrowheads="1"/>
          </p:cNvSpPr>
          <p:nvPr/>
        </p:nvSpPr>
        <p:spPr bwMode="auto">
          <a:xfrm>
            <a:off x="2927350" y="3802063"/>
            <a:ext cx="1404938" cy="777875"/>
          </a:xfrm>
          <a:prstGeom prst="rect">
            <a:avLst/>
          </a:prstGeom>
          <a:noFill/>
          <a:ln w="9525">
            <a:noFill/>
            <a:miter lim="800000"/>
            <a:headEnd/>
            <a:tailEnd/>
          </a:ln>
        </p:spPr>
        <p:txBody>
          <a:bodyPr>
            <a:spAutoFit/>
          </a:bodyPr>
          <a:lstStyle/>
          <a:p>
            <a:pPr>
              <a:spcBef>
                <a:spcPct val="50000"/>
              </a:spcBef>
            </a:pPr>
            <a:r>
              <a:rPr lang="en-US" sz="1000">
                <a:solidFill>
                  <a:srgbClr val="333333"/>
                </a:solidFill>
              </a:rPr>
              <a:t>Example:</a:t>
            </a:r>
          </a:p>
          <a:p>
            <a:pPr>
              <a:spcBef>
                <a:spcPct val="50000"/>
              </a:spcBef>
            </a:pPr>
            <a:r>
              <a:rPr lang="en-US" sz="1000">
                <a:solidFill>
                  <a:srgbClr val="333333"/>
                </a:solidFill>
              </a:rPr>
              <a:t>Sea-Air can take 7-10 days and costs around $2.25/kg.</a:t>
            </a:r>
          </a:p>
        </p:txBody>
      </p:sp>
      <p:sp>
        <p:nvSpPr>
          <p:cNvPr id="29712" name="Text Box 16"/>
          <p:cNvSpPr txBox="1">
            <a:spLocks noChangeArrowheads="1"/>
          </p:cNvSpPr>
          <p:nvPr/>
        </p:nvSpPr>
        <p:spPr bwMode="auto">
          <a:xfrm>
            <a:off x="5765800" y="3808413"/>
            <a:ext cx="1687513" cy="777875"/>
          </a:xfrm>
          <a:prstGeom prst="rect">
            <a:avLst/>
          </a:prstGeom>
          <a:noFill/>
          <a:ln w="9525">
            <a:noFill/>
            <a:miter lim="800000"/>
            <a:headEnd/>
            <a:tailEnd/>
          </a:ln>
        </p:spPr>
        <p:txBody>
          <a:bodyPr>
            <a:spAutoFit/>
          </a:bodyPr>
          <a:lstStyle/>
          <a:p>
            <a:pPr>
              <a:spcBef>
                <a:spcPct val="50000"/>
              </a:spcBef>
            </a:pPr>
            <a:r>
              <a:rPr lang="en-US" sz="1000">
                <a:solidFill>
                  <a:srgbClr val="333333"/>
                </a:solidFill>
              </a:rPr>
              <a:t>Example: </a:t>
            </a:r>
          </a:p>
          <a:p>
            <a:pPr>
              <a:spcBef>
                <a:spcPct val="50000"/>
              </a:spcBef>
            </a:pPr>
            <a:r>
              <a:rPr lang="en-US" sz="1000">
                <a:solidFill>
                  <a:srgbClr val="333333"/>
                </a:solidFill>
              </a:rPr>
              <a:t>Traditional ocean transit costs approximately $1.40-$1.60/kg.</a:t>
            </a:r>
          </a:p>
        </p:txBody>
      </p:sp>
      <p:grpSp>
        <p:nvGrpSpPr>
          <p:cNvPr id="29713" name="Group 27"/>
          <p:cNvGrpSpPr>
            <a:grpSpLocks/>
          </p:cNvGrpSpPr>
          <p:nvPr/>
        </p:nvGrpSpPr>
        <p:grpSpPr bwMode="auto">
          <a:xfrm>
            <a:off x="469900" y="485775"/>
            <a:ext cx="2578100" cy="571500"/>
            <a:chOff x="3263900" y="2324100"/>
            <a:chExt cx="2578100" cy="571500"/>
          </a:xfrm>
        </p:grpSpPr>
        <p:sp>
          <p:nvSpPr>
            <p:cNvPr id="29" name="Rounded Rectangle 28"/>
            <p:cNvSpPr/>
            <p:nvPr/>
          </p:nvSpPr>
          <p:spPr bwMode="auto">
            <a:xfrm>
              <a:off x="3263900" y="2324100"/>
              <a:ext cx="2578100" cy="571500"/>
            </a:xfrm>
            <a:prstGeom prst="roundRect">
              <a:avLst>
                <a:gd name="adj" fmla="val 10000"/>
              </a:avLst>
            </a:prstGeom>
            <a:gradFill flip="none" rotWithShape="1">
              <a:gsLst>
                <a:gs pos="0">
                  <a:schemeClr val="accent2"/>
                </a:gs>
                <a:gs pos="100000">
                  <a:schemeClr val="accent2">
                    <a:lumMod val="75000"/>
                  </a:schemeClr>
                </a:gs>
              </a:gsLst>
              <a:path path="circle">
                <a:fillToRect l="100000" t="100000"/>
              </a:path>
              <a:tileRect r="-100000" b="-100000"/>
            </a:gradFill>
            <a:ln w="9525" cap="flat" cmpd="sng" algn="ctr">
              <a:noFill/>
              <a:prstDash val="solid"/>
              <a:round/>
              <a:headEnd type="none" w="med" len="med"/>
              <a:tailEnd type="none" w="med" len="med"/>
            </a:ln>
            <a:effectLst/>
          </p:spPr>
          <p:txBody>
            <a:bodyPr lIns="90000" tIns="46800" rIns="90000" bIns="46800" anchor="b"/>
            <a:lstStyle/>
            <a:p>
              <a:pPr>
                <a:defRPr/>
              </a:pPr>
              <a:r>
                <a:rPr lang="en-US" sz="1000" b="1" cap="all" dirty="0">
                  <a:solidFill>
                    <a:schemeClr val="bg1"/>
                  </a:solidFill>
                  <a:latin typeface="Arial"/>
                  <a:ea typeface="Arial" charset="0"/>
                  <a:cs typeface="Arial"/>
                </a:rPr>
                <a:t>Transport</a:t>
              </a:r>
            </a:p>
            <a:p>
              <a:pPr>
                <a:defRPr/>
              </a:pPr>
              <a:r>
                <a:rPr lang="en-US" sz="1000" b="1" cap="all" dirty="0">
                  <a:solidFill>
                    <a:schemeClr val="bg1"/>
                  </a:solidFill>
                  <a:latin typeface="Arial"/>
                  <a:ea typeface="Arial" charset="0"/>
                  <a:cs typeface="Arial"/>
                </a:rPr>
                <a:t>Services</a:t>
              </a:r>
            </a:p>
          </p:txBody>
        </p:sp>
        <p:sp>
          <p:nvSpPr>
            <p:cNvPr id="29717" name="TextBox 29"/>
            <p:cNvSpPr txBox="1">
              <a:spLocks noChangeArrowheads="1"/>
            </p:cNvSpPr>
            <p:nvPr/>
          </p:nvSpPr>
          <p:spPr bwMode="auto">
            <a:xfrm>
              <a:off x="5321300" y="2489200"/>
              <a:ext cx="508000" cy="400110"/>
            </a:xfrm>
            <a:prstGeom prst="rect">
              <a:avLst/>
            </a:prstGeom>
            <a:noFill/>
            <a:ln w="9525">
              <a:noFill/>
              <a:miter lim="800000"/>
              <a:headEnd/>
              <a:tailEnd/>
            </a:ln>
          </p:spPr>
          <p:txBody>
            <a:bodyPr>
              <a:spAutoFit/>
            </a:bodyPr>
            <a:lstStyle/>
            <a:p>
              <a:r>
                <a:rPr lang="en-US" sz="2000" b="1">
                  <a:solidFill>
                    <a:schemeClr val="bg1"/>
                  </a:solidFill>
                  <a:latin typeface="Wingdings" pitchFamily="2" charset="2"/>
                </a:rPr>
                <a:t></a:t>
              </a:r>
              <a:endParaRPr lang="en-US" sz="2000" b="1">
                <a:solidFill>
                  <a:schemeClr val="bg1"/>
                </a:solidFill>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6"/>
          <p:cNvSpPr>
            <a:spLocks noGrp="1"/>
          </p:cNvSpPr>
          <p:nvPr>
            <p:ph type="title"/>
          </p:nvPr>
        </p:nvSpPr>
        <p:spPr>
          <a:xfrm>
            <a:off x="3429000" y="274638"/>
            <a:ext cx="5257800" cy="993775"/>
          </a:xfrm>
        </p:spPr>
        <p:txBody>
          <a:bodyPr/>
          <a:lstStyle/>
          <a:p>
            <a:r>
              <a:rPr lang="es-CO" dirty="0" smtClean="0">
                <a:ea typeface="ＭＳ Ｐゴシック" pitchFamily="34" charset="-128"/>
              </a:rPr>
              <a:t>Entregando en el lugar correcto y a tiempo.</a:t>
            </a:r>
          </a:p>
        </p:txBody>
      </p:sp>
      <p:sp>
        <p:nvSpPr>
          <p:cNvPr id="8" name="Text Placeholder 7"/>
          <p:cNvSpPr>
            <a:spLocks noGrp="1"/>
          </p:cNvSpPr>
          <p:nvPr>
            <p:ph sz="half" idx="1"/>
          </p:nvPr>
        </p:nvSpPr>
        <p:spPr>
          <a:xfrm>
            <a:off x="457200" y="1484313"/>
            <a:ext cx="4038600" cy="4641850"/>
          </a:xfrm>
        </p:spPr>
        <p:txBody>
          <a:bodyPr/>
          <a:lstStyle/>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pPr>
              <a:buClr>
                <a:srgbClr val="398FD1"/>
              </a:buClr>
            </a:pPr>
            <a:r>
              <a:rPr lang="es-CR" dirty="0" smtClean="0">
                <a:ea typeface="ＭＳ Ｐゴシック" pitchFamily="34" charset="-128"/>
              </a:rPr>
              <a:t>Manejo control de demoras</a:t>
            </a:r>
          </a:p>
          <a:p>
            <a:pPr>
              <a:buClr>
                <a:srgbClr val="398FD1"/>
              </a:buClr>
            </a:pPr>
            <a:r>
              <a:rPr lang="es-CR" dirty="0" smtClean="0">
                <a:ea typeface="ＭＳ Ｐゴシック" pitchFamily="34" charset="-128"/>
              </a:rPr>
              <a:t>Trámites y documentación de importación</a:t>
            </a:r>
          </a:p>
          <a:p>
            <a:pPr>
              <a:buClr>
                <a:srgbClr val="398FD1"/>
              </a:buClr>
            </a:pPr>
            <a:r>
              <a:rPr lang="es-CR" dirty="0" smtClean="0">
                <a:ea typeface="ＭＳ Ｐゴシック" pitchFamily="34" charset="-128"/>
              </a:rPr>
              <a:t>Inspecciones de calidad</a:t>
            </a:r>
          </a:p>
          <a:p>
            <a:pPr>
              <a:buClr>
                <a:srgbClr val="398FD1"/>
              </a:buClr>
            </a:pPr>
            <a:r>
              <a:rPr lang="es-CR" dirty="0" smtClean="0">
                <a:ea typeface="ＭＳ Ｐゴシック" pitchFamily="34" charset="-128"/>
              </a:rPr>
              <a:t>Almacenamiento y distribución</a:t>
            </a:r>
          </a:p>
          <a:p>
            <a:endParaRPr lang="en-US" dirty="0" smtClean="0">
              <a:ea typeface="ＭＳ Ｐゴシック" pitchFamily="34" charset="-128"/>
            </a:endParaRPr>
          </a:p>
        </p:txBody>
      </p:sp>
      <p:sp>
        <p:nvSpPr>
          <p:cNvPr id="9" name="Text Placeholder 8"/>
          <p:cNvSpPr>
            <a:spLocks noGrp="1"/>
          </p:cNvSpPr>
          <p:nvPr>
            <p:ph sz="half" idx="2"/>
          </p:nvPr>
        </p:nvSpPr>
        <p:spPr>
          <a:xfrm>
            <a:off x="4648200" y="1484313"/>
            <a:ext cx="4038600" cy="4641850"/>
          </a:xfrm>
        </p:spPr>
        <p:txBody>
          <a:bodyPr/>
          <a:lstStyle/>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pPr>
              <a:buClr>
                <a:srgbClr val="398FD1"/>
              </a:buClr>
            </a:pPr>
            <a:r>
              <a:rPr lang="es-CR" dirty="0" smtClean="0">
                <a:ea typeface="ＭＳ Ｐゴシック" pitchFamily="34" charset="-128"/>
              </a:rPr>
              <a:t>Clasificación y etiquetado.</a:t>
            </a:r>
          </a:p>
          <a:p>
            <a:pPr>
              <a:buClr>
                <a:srgbClr val="398FD1"/>
              </a:buClr>
            </a:pPr>
            <a:r>
              <a:rPr lang="es-CR" dirty="0" smtClean="0">
                <a:ea typeface="ＭＳ Ｐゴシック" pitchFamily="34" charset="-128"/>
              </a:rPr>
              <a:t>Transporte hacia los centros de distribución y puntos de ventas.</a:t>
            </a:r>
          </a:p>
          <a:p>
            <a:pPr>
              <a:buClr>
                <a:srgbClr val="398FD1"/>
              </a:buClr>
            </a:pPr>
            <a:r>
              <a:rPr lang="es-CR" dirty="0" smtClean="0">
                <a:ea typeface="ＭＳ Ｐゴシック" pitchFamily="34" charset="-128"/>
              </a:rPr>
              <a:t>Administración de facturación</a:t>
            </a:r>
          </a:p>
        </p:txBody>
      </p:sp>
      <p:grpSp>
        <p:nvGrpSpPr>
          <p:cNvPr id="31749" name="Group 10"/>
          <p:cNvGrpSpPr>
            <a:grpSpLocks/>
          </p:cNvGrpSpPr>
          <p:nvPr/>
        </p:nvGrpSpPr>
        <p:grpSpPr bwMode="auto">
          <a:xfrm>
            <a:off x="469900" y="485775"/>
            <a:ext cx="2578100" cy="571500"/>
            <a:chOff x="446088" y="320683"/>
            <a:chExt cx="2578100" cy="571500"/>
          </a:xfrm>
        </p:grpSpPr>
        <p:sp>
          <p:nvSpPr>
            <p:cNvPr id="14" name="Rounded Rectangle 13"/>
            <p:cNvSpPr/>
            <p:nvPr/>
          </p:nvSpPr>
          <p:spPr bwMode="auto">
            <a:xfrm>
              <a:off x="446088" y="320683"/>
              <a:ext cx="2578100" cy="571500"/>
            </a:xfrm>
            <a:prstGeom prst="roundRect">
              <a:avLst>
                <a:gd name="adj" fmla="val 10000"/>
              </a:avLst>
            </a:prstGeom>
            <a:gradFill flip="none" rotWithShape="1">
              <a:gsLst>
                <a:gs pos="0">
                  <a:schemeClr val="accent3">
                    <a:lumMod val="75000"/>
                  </a:schemeClr>
                </a:gs>
                <a:gs pos="100000">
                  <a:schemeClr val="accent3"/>
                </a:gs>
              </a:gsLst>
              <a:path path="circle">
                <a:fillToRect t="100000" r="100000"/>
              </a:path>
              <a:tileRect l="-100000" b="-100000"/>
            </a:gradFill>
            <a:ln w="9525" cap="flat" cmpd="sng" algn="ctr">
              <a:noFill/>
              <a:prstDash val="solid"/>
              <a:round/>
              <a:headEnd type="none" w="med" len="med"/>
              <a:tailEnd type="none" w="med" len="med"/>
            </a:ln>
            <a:effectLst/>
          </p:spPr>
          <p:txBody>
            <a:bodyPr lIns="90000" tIns="46800" rIns="90000" bIns="46800" anchor="b"/>
            <a:lstStyle/>
            <a:p>
              <a:pPr>
                <a:defRPr/>
              </a:pPr>
              <a:r>
                <a:rPr lang="en-US" sz="1000" b="1" cap="all" dirty="0">
                  <a:solidFill>
                    <a:schemeClr val="bg1"/>
                  </a:solidFill>
                  <a:latin typeface="Arial"/>
                  <a:ea typeface="Arial" charset="0"/>
                  <a:cs typeface="Arial"/>
                </a:rPr>
                <a:t>Destination</a:t>
              </a:r>
            </a:p>
            <a:p>
              <a:pPr>
                <a:defRPr/>
              </a:pPr>
              <a:r>
                <a:rPr lang="en-US" sz="1000" b="1" cap="all" dirty="0">
                  <a:solidFill>
                    <a:schemeClr val="bg1"/>
                  </a:solidFill>
                  <a:latin typeface="Arial"/>
                  <a:ea typeface="Arial" charset="0"/>
                  <a:cs typeface="Arial"/>
                </a:rPr>
                <a:t>Services</a:t>
              </a:r>
            </a:p>
          </p:txBody>
        </p:sp>
        <p:sp>
          <p:nvSpPr>
            <p:cNvPr id="31754" name="TextBox 14"/>
            <p:cNvSpPr txBox="1">
              <a:spLocks noChangeArrowheads="1"/>
            </p:cNvSpPr>
            <p:nvPr/>
          </p:nvSpPr>
          <p:spPr bwMode="auto">
            <a:xfrm>
              <a:off x="2516188" y="482600"/>
              <a:ext cx="508000" cy="400110"/>
            </a:xfrm>
            <a:prstGeom prst="rect">
              <a:avLst/>
            </a:prstGeom>
            <a:noFill/>
            <a:ln w="9525">
              <a:noFill/>
              <a:miter lim="800000"/>
              <a:headEnd/>
              <a:tailEnd/>
            </a:ln>
          </p:spPr>
          <p:txBody>
            <a:bodyPr>
              <a:spAutoFit/>
            </a:bodyPr>
            <a:lstStyle/>
            <a:p>
              <a:r>
                <a:rPr lang="en-US" sz="2000" b="1">
                  <a:solidFill>
                    <a:schemeClr val="bg1"/>
                  </a:solidFill>
                  <a:latin typeface="Wingdings" pitchFamily="2" charset="2"/>
                </a:rPr>
                <a:t></a:t>
              </a:r>
              <a:endParaRPr lang="en-US" sz="2000" b="1">
                <a:solidFill>
                  <a:schemeClr val="bg1"/>
                </a:solidFill>
              </a:endParaRPr>
            </a:p>
          </p:txBody>
        </p:sp>
      </p:grpSp>
      <p:pic>
        <p:nvPicPr>
          <p:cNvPr id="31750" name="Picture 9" descr="_MG_1722.jpg"/>
          <p:cNvPicPr>
            <a:picLocks noChangeAspect="1"/>
          </p:cNvPicPr>
          <p:nvPr/>
        </p:nvPicPr>
        <p:blipFill>
          <a:blip r:embed="rId3" cstate="print"/>
          <a:srcRect t="15103" r="5263" b="41162"/>
          <a:stretch>
            <a:fillRect/>
          </a:stretch>
        </p:blipFill>
        <p:spPr bwMode="auto">
          <a:xfrm>
            <a:off x="457200" y="1600200"/>
            <a:ext cx="8229600" cy="2590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 name="Freeform 1297"/>
          <p:cNvSpPr>
            <a:spLocks/>
          </p:cNvSpPr>
          <p:nvPr/>
        </p:nvSpPr>
        <p:spPr bwMode="auto">
          <a:xfrm>
            <a:off x="4198367" y="3046562"/>
            <a:ext cx="109537" cy="122237"/>
          </a:xfrm>
          <a:custGeom>
            <a:avLst/>
            <a:gdLst>
              <a:gd name="T0" fmla="*/ 23472 w 84"/>
              <a:gd name="T1" fmla="*/ 122237 h 126"/>
              <a:gd name="T2" fmla="*/ 0 w 84"/>
              <a:gd name="T3" fmla="*/ 110595 h 126"/>
              <a:gd name="T4" fmla="*/ 0 w 84"/>
              <a:gd name="T5" fmla="*/ 98954 h 126"/>
              <a:gd name="T6" fmla="*/ 7824 w 84"/>
              <a:gd name="T7" fmla="*/ 93133 h 126"/>
              <a:gd name="T8" fmla="*/ 15648 w 84"/>
              <a:gd name="T9" fmla="*/ 81491 h 126"/>
              <a:gd name="T10" fmla="*/ 15648 w 84"/>
              <a:gd name="T11" fmla="*/ 64029 h 126"/>
              <a:gd name="T12" fmla="*/ 7824 w 84"/>
              <a:gd name="T13" fmla="*/ 58208 h 126"/>
              <a:gd name="T14" fmla="*/ 15648 w 84"/>
              <a:gd name="T15" fmla="*/ 52387 h 126"/>
              <a:gd name="T16" fmla="*/ 7824 w 84"/>
              <a:gd name="T17" fmla="*/ 34925 h 126"/>
              <a:gd name="T18" fmla="*/ 39120 w 84"/>
              <a:gd name="T19" fmla="*/ 29104 h 126"/>
              <a:gd name="T20" fmla="*/ 39120 w 84"/>
              <a:gd name="T21" fmla="*/ 17462 h 126"/>
              <a:gd name="T22" fmla="*/ 70417 w 84"/>
              <a:gd name="T23" fmla="*/ 0 h 126"/>
              <a:gd name="T24" fmla="*/ 78241 w 84"/>
              <a:gd name="T25" fmla="*/ 5821 h 126"/>
              <a:gd name="T26" fmla="*/ 93889 w 84"/>
              <a:gd name="T27" fmla="*/ 5821 h 126"/>
              <a:gd name="T28" fmla="*/ 101713 w 84"/>
              <a:gd name="T29" fmla="*/ 17462 h 126"/>
              <a:gd name="T30" fmla="*/ 109537 w 84"/>
              <a:gd name="T31" fmla="*/ 29104 h 126"/>
              <a:gd name="T32" fmla="*/ 93889 w 84"/>
              <a:gd name="T33" fmla="*/ 40746 h 126"/>
              <a:gd name="T34" fmla="*/ 101713 w 84"/>
              <a:gd name="T35" fmla="*/ 64029 h 126"/>
              <a:gd name="T36" fmla="*/ 93889 w 84"/>
              <a:gd name="T37" fmla="*/ 93133 h 126"/>
              <a:gd name="T38" fmla="*/ 70417 w 84"/>
              <a:gd name="T39" fmla="*/ 98954 h 126"/>
              <a:gd name="T40" fmla="*/ 23472 w 84"/>
              <a:gd name="T41" fmla="*/ 12223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4"/>
              <a:gd name="T64" fmla="*/ 0 h 126"/>
              <a:gd name="T65" fmla="*/ 84 w 84"/>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27" name="Freeform 1298"/>
          <p:cNvSpPr>
            <a:spLocks/>
          </p:cNvSpPr>
          <p:nvPr/>
        </p:nvSpPr>
        <p:spPr bwMode="auto">
          <a:xfrm>
            <a:off x="5776342" y="2044849"/>
            <a:ext cx="436562" cy="417513"/>
          </a:xfrm>
          <a:custGeom>
            <a:avLst/>
            <a:gdLst>
              <a:gd name="T0" fmla="*/ 155915 w 336"/>
              <a:gd name="T1" fmla="*/ 417513 h 427"/>
              <a:gd name="T2" fmla="*/ 124732 w 336"/>
              <a:gd name="T3" fmla="*/ 388180 h 427"/>
              <a:gd name="T4" fmla="*/ 101345 w 336"/>
              <a:gd name="T5" fmla="*/ 317779 h 427"/>
              <a:gd name="T6" fmla="*/ 124732 w 336"/>
              <a:gd name="T7" fmla="*/ 275735 h 427"/>
              <a:gd name="T8" fmla="*/ 187098 w 336"/>
              <a:gd name="T9" fmla="*/ 176001 h 427"/>
              <a:gd name="T10" fmla="*/ 249464 w 336"/>
              <a:gd name="T11" fmla="*/ 146667 h 427"/>
              <a:gd name="T12" fmla="*/ 288443 w 336"/>
              <a:gd name="T13" fmla="*/ 111467 h 427"/>
              <a:gd name="T14" fmla="*/ 327421 w 336"/>
              <a:gd name="T15" fmla="*/ 93867 h 427"/>
              <a:gd name="T16" fmla="*/ 381992 w 336"/>
              <a:gd name="T17" fmla="*/ 70400 h 427"/>
              <a:gd name="T18" fmla="*/ 436562 w 336"/>
              <a:gd name="T19" fmla="*/ 29333 h 427"/>
              <a:gd name="T20" fmla="*/ 428766 w 336"/>
              <a:gd name="T21" fmla="*/ 5867 h 427"/>
              <a:gd name="T22" fmla="*/ 381992 w 336"/>
              <a:gd name="T23" fmla="*/ 0 h 427"/>
              <a:gd name="T24" fmla="*/ 350809 w 336"/>
              <a:gd name="T25" fmla="*/ 23467 h 427"/>
              <a:gd name="T26" fmla="*/ 327421 w 336"/>
              <a:gd name="T27" fmla="*/ 41067 h 427"/>
              <a:gd name="T28" fmla="*/ 288443 w 336"/>
              <a:gd name="T29" fmla="*/ 46934 h 427"/>
              <a:gd name="T30" fmla="*/ 241668 w 336"/>
              <a:gd name="T31" fmla="*/ 46934 h 427"/>
              <a:gd name="T32" fmla="*/ 226077 w 336"/>
              <a:gd name="T33" fmla="*/ 58667 h 427"/>
              <a:gd name="T34" fmla="*/ 210485 w 336"/>
              <a:gd name="T35" fmla="*/ 76267 h 427"/>
              <a:gd name="T36" fmla="*/ 148119 w 336"/>
              <a:gd name="T37" fmla="*/ 123201 h 427"/>
              <a:gd name="T38" fmla="*/ 116936 w 336"/>
              <a:gd name="T39" fmla="*/ 134934 h 427"/>
              <a:gd name="T40" fmla="*/ 109141 w 336"/>
              <a:gd name="T41" fmla="*/ 164267 h 427"/>
              <a:gd name="T42" fmla="*/ 85753 w 336"/>
              <a:gd name="T43" fmla="*/ 181867 h 427"/>
              <a:gd name="T44" fmla="*/ 54570 w 336"/>
              <a:gd name="T45" fmla="*/ 211201 h 427"/>
              <a:gd name="T46" fmla="*/ 54570 w 336"/>
              <a:gd name="T47" fmla="*/ 234668 h 427"/>
              <a:gd name="T48" fmla="*/ 38979 w 336"/>
              <a:gd name="T49" fmla="*/ 264001 h 427"/>
              <a:gd name="T50" fmla="*/ 15591 w 336"/>
              <a:gd name="T51" fmla="*/ 288446 h 427"/>
              <a:gd name="T52" fmla="*/ 23387 w 336"/>
              <a:gd name="T53" fmla="*/ 317779 h 427"/>
              <a:gd name="T54" fmla="*/ 0 w 336"/>
              <a:gd name="T55" fmla="*/ 341246 h 427"/>
              <a:gd name="T56" fmla="*/ 23387 w 336"/>
              <a:gd name="T57" fmla="*/ 382313 h 427"/>
              <a:gd name="T58" fmla="*/ 62366 w 336"/>
              <a:gd name="T59" fmla="*/ 394046 h 427"/>
              <a:gd name="T60" fmla="*/ 70162 w 336"/>
              <a:gd name="T61" fmla="*/ 405780 h 427"/>
              <a:gd name="T62" fmla="*/ 93549 w 336"/>
              <a:gd name="T63" fmla="*/ 411646 h 427"/>
              <a:gd name="T64" fmla="*/ 155915 w 336"/>
              <a:gd name="T65" fmla="*/ 417513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36"/>
              <a:gd name="T100" fmla="*/ 0 h 427"/>
              <a:gd name="T101" fmla="*/ 336 w 336"/>
              <a:gd name="T102" fmla="*/ 427 h 4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28" name="Freeform 1299"/>
          <p:cNvSpPr>
            <a:spLocks/>
          </p:cNvSpPr>
          <p:nvPr/>
        </p:nvSpPr>
        <p:spPr bwMode="auto">
          <a:xfrm>
            <a:off x="5517579" y="4503887"/>
            <a:ext cx="166688" cy="258762"/>
          </a:xfrm>
          <a:custGeom>
            <a:avLst/>
            <a:gdLst>
              <a:gd name="T0" fmla="*/ 7938 w 126"/>
              <a:gd name="T1" fmla="*/ 211892 h 265"/>
              <a:gd name="T2" fmla="*/ 0 w 126"/>
              <a:gd name="T3" fmla="*/ 188457 h 265"/>
              <a:gd name="T4" fmla="*/ 15875 w 126"/>
              <a:gd name="T5" fmla="*/ 165022 h 265"/>
              <a:gd name="T6" fmla="*/ 31750 w 126"/>
              <a:gd name="T7" fmla="*/ 135728 h 265"/>
              <a:gd name="T8" fmla="*/ 15875 w 126"/>
              <a:gd name="T9" fmla="*/ 88858 h 265"/>
              <a:gd name="T10" fmla="*/ 39688 w 126"/>
              <a:gd name="T11" fmla="*/ 76164 h 265"/>
              <a:gd name="T12" fmla="*/ 71438 w 126"/>
              <a:gd name="T13" fmla="*/ 58588 h 265"/>
              <a:gd name="T14" fmla="*/ 103188 w 126"/>
              <a:gd name="T15" fmla="*/ 23435 h 265"/>
              <a:gd name="T16" fmla="*/ 142875 w 126"/>
              <a:gd name="T17" fmla="*/ 0 h 265"/>
              <a:gd name="T18" fmla="*/ 166688 w 126"/>
              <a:gd name="T19" fmla="*/ 23435 h 265"/>
              <a:gd name="T20" fmla="*/ 166688 w 126"/>
              <a:gd name="T21" fmla="*/ 64446 h 265"/>
              <a:gd name="T22" fmla="*/ 166688 w 126"/>
              <a:gd name="T23" fmla="*/ 88858 h 265"/>
              <a:gd name="T24" fmla="*/ 103188 w 126"/>
              <a:gd name="T25" fmla="*/ 247044 h 265"/>
              <a:gd name="T26" fmla="*/ 71438 w 126"/>
              <a:gd name="T27" fmla="*/ 252903 h 265"/>
              <a:gd name="T28" fmla="*/ 39688 w 126"/>
              <a:gd name="T29" fmla="*/ 258762 h 265"/>
              <a:gd name="T30" fmla="*/ 7938 w 126"/>
              <a:gd name="T31" fmla="*/ 241186 h 265"/>
              <a:gd name="T32" fmla="*/ 7938 w 126"/>
              <a:gd name="T33" fmla="*/ 211892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265"/>
              <a:gd name="T53" fmla="*/ 126 w 126"/>
              <a:gd name="T54" fmla="*/ 265 h 26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29" name="Freeform 1300"/>
          <p:cNvSpPr>
            <a:spLocks/>
          </p:cNvSpPr>
          <p:nvPr/>
        </p:nvSpPr>
        <p:spPr bwMode="auto">
          <a:xfrm>
            <a:off x="6427217" y="4108599"/>
            <a:ext cx="57150" cy="50800"/>
          </a:xfrm>
          <a:custGeom>
            <a:avLst/>
            <a:gdLst>
              <a:gd name="T0" fmla="*/ 8164 w 42"/>
              <a:gd name="T1" fmla="*/ 0 h 54"/>
              <a:gd name="T2" fmla="*/ 0 w 42"/>
              <a:gd name="T3" fmla="*/ 22578 h 54"/>
              <a:gd name="T4" fmla="*/ 8164 w 42"/>
              <a:gd name="T5" fmla="*/ 50800 h 54"/>
              <a:gd name="T6" fmla="*/ 40821 w 42"/>
              <a:gd name="T7" fmla="*/ 50800 h 54"/>
              <a:gd name="T8" fmla="*/ 57150 w 42"/>
              <a:gd name="T9" fmla="*/ 28222 h 54"/>
              <a:gd name="T10" fmla="*/ 8164 w 42"/>
              <a:gd name="T11" fmla="*/ 0 h 54"/>
              <a:gd name="T12" fmla="*/ 0 60000 65536"/>
              <a:gd name="T13" fmla="*/ 0 60000 65536"/>
              <a:gd name="T14" fmla="*/ 0 60000 65536"/>
              <a:gd name="T15" fmla="*/ 0 60000 65536"/>
              <a:gd name="T16" fmla="*/ 0 60000 65536"/>
              <a:gd name="T17" fmla="*/ 0 60000 65536"/>
              <a:gd name="T18" fmla="*/ 0 w 42"/>
              <a:gd name="T19" fmla="*/ 0 h 54"/>
              <a:gd name="T20" fmla="*/ 42 w 42"/>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42" h="54">
                <a:moveTo>
                  <a:pt x="6" y="0"/>
                </a:moveTo>
                <a:lnTo>
                  <a:pt x="0" y="24"/>
                </a:lnTo>
                <a:lnTo>
                  <a:pt x="6" y="54"/>
                </a:lnTo>
                <a:lnTo>
                  <a:pt x="30" y="54"/>
                </a:lnTo>
                <a:lnTo>
                  <a:pt x="42" y="30"/>
                </a:lnTo>
                <a:lnTo>
                  <a:pt x="6" y="0"/>
                </a:lnTo>
                <a:close/>
              </a:path>
            </a:pathLst>
          </a:custGeom>
          <a:solidFill>
            <a:srgbClr val="7030A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31" name="Freeform 1301"/>
          <p:cNvSpPr>
            <a:spLocks/>
          </p:cNvSpPr>
          <p:nvPr/>
        </p:nvSpPr>
        <p:spPr bwMode="auto">
          <a:xfrm>
            <a:off x="7151117" y="3895874"/>
            <a:ext cx="53975" cy="41275"/>
          </a:xfrm>
          <a:custGeom>
            <a:avLst/>
            <a:gdLst>
              <a:gd name="T0" fmla="*/ 0 w 42"/>
              <a:gd name="T1" fmla="*/ 29482 h 42"/>
              <a:gd name="T2" fmla="*/ 15421 w 42"/>
              <a:gd name="T3" fmla="*/ 11793 h 42"/>
              <a:gd name="T4" fmla="*/ 38554 w 42"/>
              <a:gd name="T5" fmla="*/ 0 h 42"/>
              <a:gd name="T6" fmla="*/ 53975 w 42"/>
              <a:gd name="T7" fmla="*/ 11793 h 42"/>
              <a:gd name="T8" fmla="*/ 38554 w 42"/>
              <a:gd name="T9" fmla="*/ 29482 h 42"/>
              <a:gd name="T10" fmla="*/ 15421 w 42"/>
              <a:gd name="T11" fmla="*/ 41275 h 42"/>
              <a:gd name="T12" fmla="*/ 0 w 42"/>
              <a:gd name="T13" fmla="*/ 29482 h 42"/>
              <a:gd name="T14" fmla="*/ 0 60000 65536"/>
              <a:gd name="T15" fmla="*/ 0 60000 65536"/>
              <a:gd name="T16" fmla="*/ 0 60000 65536"/>
              <a:gd name="T17" fmla="*/ 0 60000 65536"/>
              <a:gd name="T18" fmla="*/ 0 60000 65536"/>
              <a:gd name="T19" fmla="*/ 0 60000 65536"/>
              <a:gd name="T20" fmla="*/ 0 60000 65536"/>
              <a:gd name="T21" fmla="*/ 0 w 42"/>
              <a:gd name="T22" fmla="*/ 0 h 42"/>
              <a:gd name="T23" fmla="*/ 42 w 42"/>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42">
                <a:moveTo>
                  <a:pt x="0" y="30"/>
                </a:moveTo>
                <a:lnTo>
                  <a:pt x="12" y="12"/>
                </a:lnTo>
                <a:lnTo>
                  <a:pt x="30" y="0"/>
                </a:lnTo>
                <a:lnTo>
                  <a:pt x="42" y="12"/>
                </a:lnTo>
                <a:lnTo>
                  <a:pt x="30" y="30"/>
                </a:lnTo>
                <a:lnTo>
                  <a:pt x="12" y="42"/>
                </a:lnTo>
                <a:lnTo>
                  <a:pt x="0" y="30"/>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32" name="Freeform 1302"/>
          <p:cNvSpPr>
            <a:spLocks/>
          </p:cNvSpPr>
          <p:nvPr/>
        </p:nvSpPr>
        <p:spPr bwMode="auto">
          <a:xfrm>
            <a:off x="7441629" y="3795862"/>
            <a:ext cx="31750" cy="69850"/>
          </a:xfrm>
          <a:custGeom>
            <a:avLst/>
            <a:gdLst>
              <a:gd name="T0" fmla="*/ 0 w 24"/>
              <a:gd name="T1" fmla="*/ 40746 h 72"/>
              <a:gd name="T2" fmla="*/ 0 w 24"/>
              <a:gd name="T3" fmla="*/ 17463 h 72"/>
              <a:gd name="T4" fmla="*/ 31750 w 24"/>
              <a:gd name="T5" fmla="*/ 0 h 72"/>
              <a:gd name="T6" fmla="*/ 31750 w 24"/>
              <a:gd name="T7" fmla="*/ 23283 h 72"/>
              <a:gd name="T8" fmla="*/ 7938 w 24"/>
              <a:gd name="T9" fmla="*/ 69850 h 72"/>
              <a:gd name="T10" fmla="*/ 0 w 24"/>
              <a:gd name="T11" fmla="*/ 40746 h 72"/>
              <a:gd name="T12" fmla="*/ 0 60000 65536"/>
              <a:gd name="T13" fmla="*/ 0 60000 65536"/>
              <a:gd name="T14" fmla="*/ 0 60000 65536"/>
              <a:gd name="T15" fmla="*/ 0 60000 65536"/>
              <a:gd name="T16" fmla="*/ 0 60000 65536"/>
              <a:gd name="T17" fmla="*/ 0 60000 65536"/>
              <a:gd name="T18" fmla="*/ 0 w 24"/>
              <a:gd name="T19" fmla="*/ 0 h 72"/>
              <a:gd name="T20" fmla="*/ 24 w 24"/>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4" h="72">
                <a:moveTo>
                  <a:pt x="0" y="42"/>
                </a:moveTo>
                <a:lnTo>
                  <a:pt x="0" y="18"/>
                </a:lnTo>
                <a:lnTo>
                  <a:pt x="24" y="0"/>
                </a:lnTo>
                <a:lnTo>
                  <a:pt x="24" y="24"/>
                </a:lnTo>
                <a:lnTo>
                  <a:pt x="6" y="72"/>
                </a:lnTo>
                <a:lnTo>
                  <a:pt x="0" y="42"/>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34" name="Freeform 1303"/>
          <p:cNvSpPr>
            <a:spLocks/>
          </p:cNvSpPr>
          <p:nvPr/>
        </p:nvSpPr>
        <p:spPr bwMode="auto">
          <a:xfrm>
            <a:off x="7676579" y="3613299"/>
            <a:ext cx="46038" cy="52388"/>
          </a:xfrm>
          <a:custGeom>
            <a:avLst/>
            <a:gdLst>
              <a:gd name="T0" fmla="*/ 0 w 36"/>
              <a:gd name="T1" fmla="*/ 17463 h 54"/>
              <a:gd name="T2" fmla="*/ 7673 w 36"/>
              <a:gd name="T3" fmla="*/ 34925 h 54"/>
              <a:gd name="T4" fmla="*/ 15346 w 36"/>
              <a:gd name="T5" fmla="*/ 52388 h 54"/>
              <a:gd name="T6" fmla="*/ 38365 w 36"/>
              <a:gd name="T7" fmla="*/ 40746 h 54"/>
              <a:gd name="T8" fmla="*/ 46038 w 36"/>
              <a:gd name="T9" fmla="*/ 17463 h 54"/>
              <a:gd name="T10" fmla="*/ 38365 w 36"/>
              <a:gd name="T11" fmla="*/ 0 h 54"/>
              <a:gd name="T12" fmla="*/ 0 w 36"/>
              <a:gd name="T13" fmla="*/ 17463 h 54"/>
              <a:gd name="T14" fmla="*/ 0 60000 65536"/>
              <a:gd name="T15" fmla="*/ 0 60000 65536"/>
              <a:gd name="T16" fmla="*/ 0 60000 65536"/>
              <a:gd name="T17" fmla="*/ 0 60000 65536"/>
              <a:gd name="T18" fmla="*/ 0 60000 65536"/>
              <a:gd name="T19" fmla="*/ 0 60000 65536"/>
              <a:gd name="T20" fmla="*/ 0 60000 65536"/>
              <a:gd name="T21" fmla="*/ 0 w 36"/>
              <a:gd name="T22" fmla="*/ 0 h 54"/>
              <a:gd name="T23" fmla="*/ 36 w 36"/>
              <a:gd name="T24" fmla="*/ 54 h 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54">
                <a:moveTo>
                  <a:pt x="0" y="18"/>
                </a:moveTo>
                <a:lnTo>
                  <a:pt x="6" y="36"/>
                </a:lnTo>
                <a:lnTo>
                  <a:pt x="12" y="54"/>
                </a:lnTo>
                <a:lnTo>
                  <a:pt x="30" y="42"/>
                </a:lnTo>
                <a:lnTo>
                  <a:pt x="36" y="18"/>
                </a:lnTo>
                <a:lnTo>
                  <a:pt x="30" y="0"/>
                </a:lnTo>
                <a:lnTo>
                  <a:pt x="0" y="18"/>
                </a:lnTo>
                <a:close/>
              </a:path>
            </a:pathLst>
          </a:custGeom>
          <a:solidFill>
            <a:srgbClr val="EF4135"/>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35" name="Freeform 1304"/>
          <p:cNvSpPr>
            <a:spLocks/>
          </p:cNvSpPr>
          <p:nvPr/>
        </p:nvSpPr>
        <p:spPr bwMode="auto">
          <a:xfrm>
            <a:off x="7732142" y="3345012"/>
            <a:ext cx="344487" cy="280987"/>
          </a:xfrm>
          <a:custGeom>
            <a:avLst/>
            <a:gdLst>
              <a:gd name="T0" fmla="*/ 7829 w 264"/>
              <a:gd name="T1" fmla="*/ 240151 h 289"/>
              <a:gd name="T2" fmla="*/ 54805 w 264"/>
              <a:gd name="T3" fmla="*/ 228484 h 289"/>
              <a:gd name="T4" fmla="*/ 86122 w 264"/>
              <a:gd name="T5" fmla="*/ 228484 h 289"/>
              <a:gd name="T6" fmla="*/ 140926 w 264"/>
              <a:gd name="T7" fmla="*/ 193482 h 289"/>
              <a:gd name="T8" fmla="*/ 180073 w 264"/>
              <a:gd name="T9" fmla="*/ 181815 h 289"/>
              <a:gd name="T10" fmla="*/ 187902 w 264"/>
              <a:gd name="T11" fmla="*/ 152647 h 289"/>
              <a:gd name="T12" fmla="*/ 203560 w 264"/>
              <a:gd name="T13" fmla="*/ 105978 h 289"/>
              <a:gd name="T14" fmla="*/ 203560 w 264"/>
              <a:gd name="T15" fmla="*/ 70004 h 289"/>
              <a:gd name="T16" fmla="*/ 227048 w 264"/>
              <a:gd name="T17" fmla="*/ 46669 h 289"/>
              <a:gd name="T18" fmla="*/ 227048 w 264"/>
              <a:gd name="T19" fmla="*/ 17501 h 289"/>
              <a:gd name="T20" fmla="*/ 242707 w 264"/>
              <a:gd name="T21" fmla="*/ 0 h 289"/>
              <a:gd name="T22" fmla="*/ 274024 w 264"/>
              <a:gd name="T23" fmla="*/ 17501 h 289"/>
              <a:gd name="T24" fmla="*/ 320999 w 264"/>
              <a:gd name="T25" fmla="*/ 29168 h 289"/>
              <a:gd name="T26" fmla="*/ 344487 w 264"/>
              <a:gd name="T27" fmla="*/ 29168 h 289"/>
              <a:gd name="T28" fmla="*/ 313170 w 264"/>
              <a:gd name="T29" fmla="*/ 52503 h 289"/>
              <a:gd name="T30" fmla="*/ 289682 w 264"/>
              <a:gd name="T31" fmla="*/ 64170 h 289"/>
              <a:gd name="T32" fmla="*/ 274024 w 264"/>
              <a:gd name="T33" fmla="*/ 82643 h 289"/>
              <a:gd name="T34" fmla="*/ 234877 w 264"/>
              <a:gd name="T35" fmla="*/ 58336 h 289"/>
              <a:gd name="T36" fmla="*/ 211390 w 264"/>
              <a:gd name="T37" fmla="*/ 94311 h 289"/>
              <a:gd name="T38" fmla="*/ 242707 w 264"/>
              <a:gd name="T39" fmla="*/ 135146 h 289"/>
              <a:gd name="T40" fmla="*/ 219219 w 264"/>
              <a:gd name="T41" fmla="*/ 164314 h 289"/>
              <a:gd name="T42" fmla="*/ 211390 w 264"/>
              <a:gd name="T43" fmla="*/ 187649 h 289"/>
              <a:gd name="T44" fmla="*/ 211390 w 264"/>
              <a:gd name="T45" fmla="*/ 228484 h 289"/>
              <a:gd name="T46" fmla="*/ 195731 w 264"/>
              <a:gd name="T47" fmla="*/ 240151 h 289"/>
              <a:gd name="T48" fmla="*/ 180073 w 264"/>
              <a:gd name="T49" fmla="*/ 234318 h 289"/>
              <a:gd name="T50" fmla="*/ 164414 w 264"/>
              <a:gd name="T51" fmla="*/ 240151 h 289"/>
              <a:gd name="T52" fmla="*/ 133097 w 264"/>
              <a:gd name="T53" fmla="*/ 240151 h 289"/>
              <a:gd name="T54" fmla="*/ 117439 w 264"/>
              <a:gd name="T55" fmla="*/ 240151 h 289"/>
              <a:gd name="T56" fmla="*/ 86122 w 264"/>
              <a:gd name="T57" fmla="*/ 263486 h 289"/>
              <a:gd name="T58" fmla="*/ 78292 w 264"/>
              <a:gd name="T59" fmla="*/ 251819 h 289"/>
              <a:gd name="T60" fmla="*/ 62634 w 264"/>
              <a:gd name="T61" fmla="*/ 257652 h 289"/>
              <a:gd name="T62" fmla="*/ 46975 w 264"/>
              <a:gd name="T63" fmla="*/ 263486 h 289"/>
              <a:gd name="T64" fmla="*/ 15658 w 264"/>
              <a:gd name="T65" fmla="*/ 280987 h 289"/>
              <a:gd name="T66" fmla="*/ 0 w 264"/>
              <a:gd name="T67" fmla="*/ 251819 h 289"/>
              <a:gd name="T68" fmla="*/ 7829 w 264"/>
              <a:gd name="T69" fmla="*/ 240151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64"/>
              <a:gd name="T106" fmla="*/ 0 h 289"/>
              <a:gd name="T107" fmla="*/ 264 w 264"/>
              <a:gd name="T108" fmla="*/ 289 h 2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solidFill>
            <a:srgbClr val="EF4135"/>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36" name="Freeform 1305"/>
          <p:cNvSpPr>
            <a:spLocks/>
          </p:cNvSpPr>
          <p:nvPr/>
        </p:nvSpPr>
        <p:spPr bwMode="auto">
          <a:xfrm>
            <a:off x="7975029" y="3086249"/>
            <a:ext cx="61913" cy="230188"/>
          </a:xfrm>
          <a:custGeom>
            <a:avLst/>
            <a:gdLst>
              <a:gd name="T0" fmla="*/ 15478 w 48"/>
              <a:gd name="T1" fmla="*/ 218383 h 234"/>
              <a:gd name="T2" fmla="*/ 15478 w 48"/>
              <a:gd name="T3" fmla="*/ 177068 h 234"/>
              <a:gd name="T4" fmla="*/ 7739 w 48"/>
              <a:gd name="T5" fmla="*/ 88534 h 234"/>
              <a:gd name="T6" fmla="*/ 0 w 48"/>
              <a:gd name="T7" fmla="*/ 64925 h 234"/>
              <a:gd name="T8" fmla="*/ 7739 w 48"/>
              <a:gd name="T9" fmla="*/ 29511 h 234"/>
              <a:gd name="T10" fmla="*/ 15478 w 48"/>
              <a:gd name="T11" fmla="*/ 0 h 234"/>
              <a:gd name="T12" fmla="*/ 30957 w 48"/>
              <a:gd name="T13" fmla="*/ 35414 h 234"/>
              <a:gd name="T14" fmla="*/ 30957 w 48"/>
              <a:gd name="T15" fmla="*/ 59023 h 234"/>
              <a:gd name="T16" fmla="*/ 61913 w 48"/>
              <a:gd name="T17" fmla="*/ 153459 h 234"/>
              <a:gd name="T18" fmla="*/ 38696 w 48"/>
              <a:gd name="T19" fmla="*/ 141654 h 234"/>
              <a:gd name="T20" fmla="*/ 30957 w 48"/>
              <a:gd name="T21" fmla="*/ 165263 h 234"/>
              <a:gd name="T22" fmla="*/ 30957 w 48"/>
              <a:gd name="T23" fmla="*/ 194774 h 234"/>
              <a:gd name="T24" fmla="*/ 54174 w 48"/>
              <a:gd name="T25" fmla="*/ 230188 h 234"/>
              <a:gd name="T26" fmla="*/ 15478 w 48"/>
              <a:gd name="T27" fmla="*/ 218383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
              <a:gd name="T43" fmla="*/ 0 h 234"/>
              <a:gd name="T44" fmla="*/ 48 w 48"/>
              <a:gd name="T45" fmla="*/ 234 h 23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solidFill>
            <a:srgbClr val="EF4135"/>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37" name="Freeform 1306"/>
          <p:cNvSpPr>
            <a:spLocks/>
          </p:cNvSpPr>
          <p:nvPr/>
        </p:nvSpPr>
        <p:spPr bwMode="auto">
          <a:xfrm>
            <a:off x="8595742" y="5100787"/>
            <a:ext cx="179387" cy="153987"/>
          </a:xfrm>
          <a:custGeom>
            <a:avLst/>
            <a:gdLst>
              <a:gd name="T0" fmla="*/ 0 w 138"/>
              <a:gd name="T1" fmla="*/ 130448 h 157"/>
              <a:gd name="T2" fmla="*/ 23398 w 138"/>
              <a:gd name="T3" fmla="*/ 95138 h 157"/>
              <a:gd name="T4" fmla="*/ 38997 w 138"/>
              <a:gd name="T5" fmla="*/ 77484 h 157"/>
              <a:gd name="T6" fmla="*/ 85794 w 138"/>
              <a:gd name="T7" fmla="*/ 58849 h 157"/>
              <a:gd name="T8" fmla="*/ 101393 w 138"/>
              <a:gd name="T9" fmla="*/ 52964 h 157"/>
              <a:gd name="T10" fmla="*/ 116992 w 138"/>
              <a:gd name="T11" fmla="*/ 29424 h 157"/>
              <a:gd name="T12" fmla="*/ 132590 w 138"/>
              <a:gd name="T13" fmla="*/ 0 h 157"/>
              <a:gd name="T14" fmla="*/ 148189 w 138"/>
              <a:gd name="T15" fmla="*/ 11770 h 157"/>
              <a:gd name="T16" fmla="*/ 179387 w 138"/>
              <a:gd name="T17" fmla="*/ 17655 h 157"/>
              <a:gd name="T18" fmla="*/ 179387 w 138"/>
              <a:gd name="T19" fmla="*/ 35309 h 157"/>
              <a:gd name="T20" fmla="*/ 148189 w 138"/>
              <a:gd name="T21" fmla="*/ 52964 h 157"/>
              <a:gd name="T22" fmla="*/ 132590 w 138"/>
              <a:gd name="T23" fmla="*/ 65714 h 157"/>
              <a:gd name="T24" fmla="*/ 101393 w 138"/>
              <a:gd name="T25" fmla="*/ 89254 h 157"/>
              <a:gd name="T26" fmla="*/ 93593 w 138"/>
              <a:gd name="T27" fmla="*/ 112793 h 157"/>
              <a:gd name="T28" fmla="*/ 85794 w 138"/>
              <a:gd name="T29" fmla="*/ 148102 h 157"/>
              <a:gd name="T30" fmla="*/ 46797 w 138"/>
              <a:gd name="T31" fmla="*/ 153987 h 157"/>
              <a:gd name="T32" fmla="*/ 23398 w 138"/>
              <a:gd name="T33" fmla="*/ 148102 h 157"/>
              <a:gd name="T34" fmla="*/ 0 w 138"/>
              <a:gd name="T35" fmla="*/ 130448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157"/>
              <a:gd name="T56" fmla="*/ 138 w 138"/>
              <a:gd name="T57" fmla="*/ 157 h 15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38" name="Freeform 1307"/>
          <p:cNvSpPr>
            <a:spLocks/>
          </p:cNvSpPr>
          <p:nvPr/>
        </p:nvSpPr>
        <p:spPr bwMode="auto">
          <a:xfrm>
            <a:off x="8751317" y="4962674"/>
            <a:ext cx="125412" cy="150813"/>
          </a:xfrm>
          <a:custGeom>
            <a:avLst/>
            <a:gdLst>
              <a:gd name="T0" fmla="*/ 7838 w 96"/>
              <a:gd name="T1" fmla="*/ 104409 h 156"/>
              <a:gd name="T2" fmla="*/ 31353 w 96"/>
              <a:gd name="T3" fmla="*/ 75407 h 156"/>
              <a:gd name="T4" fmla="*/ 31353 w 96"/>
              <a:gd name="T5" fmla="*/ 52204 h 156"/>
              <a:gd name="T6" fmla="*/ 0 w 96"/>
              <a:gd name="T7" fmla="*/ 0 h 156"/>
              <a:gd name="T8" fmla="*/ 39191 w 96"/>
              <a:gd name="T9" fmla="*/ 11601 h 156"/>
              <a:gd name="T10" fmla="*/ 39191 w 96"/>
              <a:gd name="T11" fmla="*/ 40603 h 156"/>
              <a:gd name="T12" fmla="*/ 54868 w 96"/>
              <a:gd name="T13" fmla="*/ 58005 h 156"/>
              <a:gd name="T14" fmla="*/ 78382 w 96"/>
              <a:gd name="T15" fmla="*/ 75407 h 156"/>
              <a:gd name="T16" fmla="*/ 109736 w 96"/>
              <a:gd name="T17" fmla="*/ 63806 h 156"/>
              <a:gd name="T18" fmla="*/ 125412 w 96"/>
              <a:gd name="T19" fmla="*/ 75407 h 156"/>
              <a:gd name="T20" fmla="*/ 117574 w 96"/>
              <a:gd name="T21" fmla="*/ 87007 h 156"/>
              <a:gd name="T22" fmla="*/ 101897 w 96"/>
              <a:gd name="T23" fmla="*/ 98608 h 156"/>
              <a:gd name="T24" fmla="*/ 86221 w 96"/>
              <a:gd name="T25" fmla="*/ 110209 h 156"/>
              <a:gd name="T26" fmla="*/ 78382 w 96"/>
              <a:gd name="T27" fmla="*/ 127611 h 156"/>
              <a:gd name="T28" fmla="*/ 54868 w 96"/>
              <a:gd name="T29" fmla="*/ 150813 h 156"/>
              <a:gd name="T30" fmla="*/ 31353 w 96"/>
              <a:gd name="T31" fmla="*/ 139212 h 156"/>
              <a:gd name="T32" fmla="*/ 39191 w 96"/>
              <a:gd name="T33" fmla="*/ 121810 h 156"/>
              <a:gd name="T34" fmla="*/ 7838 w 96"/>
              <a:gd name="T35" fmla="*/ 104409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6"/>
              <a:gd name="T55" fmla="*/ 0 h 156"/>
              <a:gd name="T56" fmla="*/ 96 w 96"/>
              <a:gd name="T57" fmla="*/ 156 h 1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39" name="Freeform 1308"/>
          <p:cNvSpPr>
            <a:spLocks/>
          </p:cNvSpPr>
          <p:nvPr/>
        </p:nvSpPr>
        <p:spPr bwMode="auto">
          <a:xfrm>
            <a:off x="7268592" y="4492774"/>
            <a:ext cx="989012" cy="563563"/>
          </a:xfrm>
          <a:custGeom>
            <a:avLst/>
            <a:gdLst>
              <a:gd name="T0" fmla="*/ 47034 w 757"/>
              <a:gd name="T1" fmla="*/ 405336 h 577"/>
              <a:gd name="T2" fmla="*/ 7839 w 757"/>
              <a:gd name="T3" fmla="*/ 299851 h 577"/>
              <a:gd name="T4" fmla="*/ 0 w 757"/>
              <a:gd name="T5" fmla="*/ 241248 h 577"/>
              <a:gd name="T6" fmla="*/ 39195 w 757"/>
              <a:gd name="T7" fmla="*/ 188505 h 577"/>
              <a:gd name="T8" fmla="*/ 148940 w 757"/>
              <a:gd name="T9" fmla="*/ 147484 h 577"/>
              <a:gd name="T10" fmla="*/ 203812 w 757"/>
              <a:gd name="T11" fmla="*/ 106462 h 577"/>
              <a:gd name="T12" fmla="*/ 266524 w 757"/>
              <a:gd name="T13" fmla="*/ 87904 h 577"/>
              <a:gd name="T14" fmla="*/ 344913 w 757"/>
              <a:gd name="T15" fmla="*/ 46882 h 577"/>
              <a:gd name="T16" fmla="*/ 391947 w 757"/>
              <a:gd name="T17" fmla="*/ 64463 h 577"/>
              <a:gd name="T18" fmla="*/ 431141 w 757"/>
              <a:gd name="T19" fmla="*/ 23441 h 577"/>
              <a:gd name="T20" fmla="*/ 486014 w 757"/>
              <a:gd name="T21" fmla="*/ 0 h 577"/>
              <a:gd name="T22" fmla="*/ 572242 w 757"/>
              <a:gd name="T23" fmla="*/ 11721 h 577"/>
              <a:gd name="T24" fmla="*/ 548725 w 757"/>
              <a:gd name="T25" fmla="*/ 64463 h 577"/>
              <a:gd name="T26" fmla="*/ 611437 w 757"/>
              <a:gd name="T27" fmla="*/ 76184 h 577"/>
              <a:gd name="T28" fmla="*/ 666309 w 757"/>
              <a:gd name="T29" fmla="*/ 106462 h 577"/>
              <a:gd name="T30" fmla="*/ 705504 w 757"/>
              <a:gd name="T31" fmla="*/ 29301 h 577"/>
              <a:gd name="T32" fmla="*/ 752538 w 757"/>
              <a:gd name="T33" fmla="*/ 41022 h 577"/>
              <a:gd name="T34" fmla="*/ 776054 w 757"/>
              <a:gd name="T35" fmla="*/ 58603 h 577"/>
              <a:gd name="T36" fmla="*/ 838766 w 757"/>
              <a:gd name="T37" fmla="*/ 147484 h 577"/>
              <a:gd name="T38" fmla="*/ 901477 w 757"/>
              <a:gd name="T39" fmla="*/ 194366 h 577"/>
              <a:gd name="T40" fmla="*/ 932833 w 757"/>
              <a:gd name="T41" fmla="*/ 235388 h 577"/>
              <a:gd name="T42" fmla="*/ 981173 w 757"/>
              <a:gd name="T43" fmla="*/ 282270 h 577"/>
              <a:gd name="T44" fmla="*/ 989012 w 757"/>
              <a:gd name="T45" fmla="*/ 370174 h 577"/>
              <a:gd name="T46" fmla="*/ 909316 w 757"/>
              <a:gd name="T47" fmla="*/ 510821 h 577"/>
              <a:gd name="T48" fmla="*/ 893638 w 757"/>
              <a:gd name="T49" fmla="*/ 534262 h 577"/>
              <a:gd name="T50" fmla="*/ 830927 w 757"/>
              <a:gd name="T51" fmla="*/ 563563 h 577"/>
              <a:gd name="T52" fmla="*/ 776054 w 757"/>
              <a:gd name="T53" fmla="*/ 545982 h 577"/>
              <a:gd name="T54" fmla="*/ 697665 w 757"/>
              <a:gd name="T55" fmla="*/ 540122 h 577"/>
              <a:gd name="T56" fmla="*/ 627115 w 757"/>
              <a:gd name="T57" fmla="*/ 493240 h 577"/>
              <a:gd name="T58" fmla="*/ 580081 w 757"/>
              <a:gd name="T59" fmla="*/ 475659 h 577"/>
              <a:gd name="T60" fmla="*/ 493853 w 757"/>
              <a:gd name="T61" fmla="*/ 411196 h 577"/>
              <a:gd name="T62" fmla="*/ 344913 w 757"/>
              <a:gd name="T63" fmla="*/ 405336 h 577"/>
              <a:gd name="T64" fmla="*/ 258685 w 757"/>
              <a:gd name="T65" fmla="*/ 440497 h 577"/>
              <a:gd name="T66" fmla="*/ 180295 w 757"/>
              <a:gd name="T67" fmla="*/ 446357 h 577"/>
              <a:gd name="T68" fmla="*/ 109745 w 757"/>
              <a:gd name="T69" fmla="*/ 475659 h 577"/>
              <a:gd name="T70" fmla="*/ 39195 w 757"/>
              <a:gd name="T71" fmla="*/ 452218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7"/>
              <a:gd name="T109" fmla="*/ 0 h 577"/>
              <a:gd name="T110" fmla="*/ 757 w 757"/>
              <a:gd name="T111" fmla="*/ 577 h 57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40" name="Freeform 1309"/>
          <p:cNvSpPr>
            <a:spLocks/>
          </p:cNvSpPr>
          <p:nvPr/>
        </p:nvSpPr>
        <p:spPr bwMode="auto">
          <a:xfrm>
            <a:off x="8044879" y="5089674"/>
            <a:ext cx="87313" cy="88900"/>
          </a:xfrm>
          <a:custGeom>
            <a:avLst/>
            <a:gdLst>
              <a:gd name="T0" fmla="*/ 0 w 66"/>
              <a:gd name="T1" fmla="*/ 17585 h 91"/>
              <a:gd name="T2" fmla="*/ 15875 w 66"/>
              <a:gd name="T3" fmla="*/ 46892 h 91"/>
              <a:gd name="T4" fmla="*/ 23813 w 66"/>
              <a:gd name="T5" fmla="*/ 70338 h 91"/>
              <a:gd name="T6" fmla="*/ 47625 w 66"/>
              <a:gd name="T7" fmla="*/ 88900 h 91"/>
              <a:gd name="T8" fmla="*/ 63500 w 66"/>
              <a:gd name="T9" fmla="*/ 64477 h 91"/>
              <a:gd name="T10" fmla="*/ 87313 w 66"/>
              <a:gd name="T11" fmla="*/ 29308 h 91"/>
              <a:gd name="T12" fmla="*/ 87313 w 66"/>
              <a:gd name="T13" fmla="*/ 0 h 91"/>
              <a:gd name="T14" fmla="*/ 55563 w 66"/>
              <a:gd name="T15" fmla="*/ 11723 h 91"/>
              <a:gd name="T16" fmla="*/ 0 w 66"/>
              <a:gd name="T17" fmla="*/ 17585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91"/>
              <a:gd name="T29" fmla="*/ 66 w 66"/>
              <a:gd name="T30" fmla="*/ 91 h 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91">
                <a:moveTo>
                  <a:pt x="0" y="18"/>
                </a:moveTo>
                <a:lnTo>
                  <a:pt x="12" y="48"/>
                </a:lnTo>
                <a:lnTo>
                  <a:pt x="18" y="72"/>
                </a:lnTo>
                <a:lnTo>
                  <a:pt x="36" y="91"/>
                </a:lnTo>
                <a:lnTo>
                  <a:pt x="48" y="66"/>
                </a:lnTo>
                <a:lnTo>
                  <a:pt x="66" y="30"/>
                </a:lnTo>
                <a:lnTo>
                  <a:pt x="66" y="0"/>
                </a:lnTo>
                <a:lnTo>
                  <a:pt x="42" y="12"/>
                </a:lnTo>
                <a:lnTo>
                  <a:pt x="0" y="18"/>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41" name="Freeform 1310"/>
          <p:cNvSpPr>
            <a:spLocks/>
          </p:cNvSpPr>
          <p:nvPr/>
        </p:nvSpPr>
        <p:spPr bwMode="auto">
          <a:xfrm>
            <a:off x="6844729" y="4183212"/>
            <a:ext cx="241300" cy="198437"/>
          </a:xfrm>
          <a:custGeom>
            <a:avLst/>
            <a:gdLst>
              <a:gd name="T0" fmla="*/ 0 w 31"/>
              <a:gd name="T1" fmla="*/ 0 h 34"/>
              <a:gd name="T2" fmla="*/ 31135 w 31"/>
              <a:gd name="T3" fmla="*/ 0 h 34"/>
              <a:gd name="T4" fmla="*/ 62271 w 31"/>
              <a:gd name="T5" fmla="*/ 35018 h 34"/>
              <a:gd name="T6" fmla="*/ 85623 w 31"/>
              <a:gd name="T7" fmla="*/ 46691 h 34"/>
              <a:gd name="T8" fmla="*/ 124542 w 31"/>
              <a:gd name="T9" fmla="*/ 58364 h 34"/>
              <a:gd name="T10" fmla="*/ 186813 w 31"/>
              <a:gd name="T11" fmla="*/ 99219 h 34"/>
              <a:gd name="T12" fmla="*/ 202381 w 31"/>
              <a:gd name="T13" fmla="*/ 116728 h 34"/>
              <a:gd name="T14" fmla="*/ 233516 w 31"/>
              <a:gd name="T15" fmla="*/ 145910 h 34"/>
              <a:gd name="T16" fmla="*/ 241300 w 31"/>
              <a:gd name="T17" fmla="*/ 180928 h 34"/>
              <a:gd name="T18" fmla="*/ 210165 w 31"/>
              <a:gd name="T19" fmla="*/ 198437 h 34"/>
              <a:gd name="T20" fmla="*/ 163461 w 31"/>
              <a:gd name="T21" fmla="*/ 169255 h 34"/>
              <a:gd name="T22" fmla="*/ 116758 w 31"/>
              <a:gd name="T23" fmla="*/ 151746 h 34"/>
              <a:gd name="T24" fmla="*/ 93406 w 31"/>
              <a:gd name="T25" fmla="*/ 105055 h 34"/>
              <a:gd name="T26" fmla="*/ 70055 w 31"/>
              <a:gd name="T27" fmla="*/ 93382 h 34"/>
              <a:gd name="T28" fmla="*/ 46703 w 31"/>
              <a:gd name="T29" fmla="*/ 70037 h 34"/>
              <a:gd name="T30" fmla="*/ 7784 w 31"/>
              <a:gd name="T31" fmla="*/ 46691 h 34"/>
              <a:gd name="T32" fmla="*/ 0 w 31"/>
              <a:gd name="T33" fmla="*/ 0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
              <a:gd name="T52" fmla="*/ 0 h 34"/>
              <a:gd name="T53" fmla="*/ 31 w 31"/>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 h="34">
                <a:moveTo>
                  <a:pt x="0" y="0"/>
                </a:moveTo>
                <a:cubicBezTo>
                  <a:pt x="4" y="0"/>
                  <a:pt x="4" y="0"/>
                  <a:pt x="4" y="0"/>
                </a:cubicBezTo>
                <a:cubicBezTo>
                  <a:pt x="8" y="6"/>
                  <a:pt x="8" y="6"/>
                  <a:pt x="8" y="6"/>
                </a:cubicBezTo>
                <a:cubicBezTo>
                  <a:pt x="11" y="8"/>
                  <a:pt x="11" y="8"/>
                  <a:pt x="11" y="8"/>
                </a:cubicBezTo>
                <a:cubicBezTo>
                  <a:pt x="16" y="10"/>
                  <a:pt x="16" y="10"/>
                  <a:pt x="16" y="10"/>
                </a:cubicBezTo>
                <a:cubicBezTo>
                  <a:pt x="24" y="17"/>
                  <a:pt x="24" y="17"/>
                  <a:pt x="24" y="17"/>
                </a:cubicBezTo>
                <a:cubicBezTo>
                  <a:pt x="26" y="20"/>
                  <a:pt x="26" y="20"/>
                  <a:pt x="26" y="20"/>
                </a:cubicBezTo>
                <a:cubicBezTo>
                  <a:pt x="30" y="25"/>
                  <a:pt x="30" y="25"/>
                  <a:pt x="30" y="25"/>
                </a:cubicBezTo>
                <a:cubicBezTo>
                  <a:pt x="31" y="31"/>
                  <a:pt x="31" y="31"/>
                  <a:pt x="31" y="31"/>
                </a:cubicBezTo>
                <a:cubicBezTo>
                  <a:pt x="27" y="34"/>
                  <a:pt x="27" y="34"/>
                  <a:pt x="27" y="34"/>
                </a:cubicBezTo>
                <a:cubicBezTo>
                  <a:pt x="21" y="29"/>
                  <a:pt x="21" y="29"/>
                  <a:pt x="21" y="29"/>
                </a:cubicBezTo>
                <a:cubicBezTo>
                  <a:pt x="15" y="26"/>
                  <a:pt x="15" y="26"/>
                  <a:pt x="15" y="26"/>
                </a:cubicBezTo>
                <a:cubicBezTo>
                  <a:pt x="12" y="18"/>
                  <a:pt x="12" y="18"/>
                  <a:pt x="12" y="18"/>
                </a:cubicBezTo>
                <a:cubicBezTo>
                  <a:pt x="9" y="16"/>
                  <a:pt x="9" y="16"/>
                  <a:pt x="9" y="16"/>
                </a:cubicBezTo>
                <a:cubicBezTo>
                  <a:pt x="9" y="16"/>
                  <a:pt x="7" y="13"/>
                  <a:pt x="6" y="12"/>
                </a:cubicBezTo>
                <a:cubicBezTo>
                  <a:pt x="4" y="11"/>
                  <a:pt x="1" y="8"/>
                  <a:pt x="1" y="8"/>
                </a:cubicBezTo>
                <a:lnTo>
                  <a:pt x="0" y="0"/>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42" name="Freeform 1311"/>
          <p:cNvSpPr>
            <a:spLocks/>
          </p:cNvSpPr>
          <p:nvPr/>
        </p:nvSpPr>
        <p:spPr bwMode="auto">
          <a:xfrm>
            <a:off x="7174929" y="4146699"/>
            <a:ext cx="227013" cy="198438"/>
          </a:xfrm>
          <a:custGeom>
            <a:avLst/>
            <a:gdLst>
              <a:gd name="T0" fmla="*/ 15656 w 174"/>
              <a:gd name="T1" fmla="*/ 163420 h 204"/>
              <a:gd name="T2" fmla="*/ 0 w 174"/>
              <a:gd name="T3" fmla="*/ 140074 h 204"/>
              <a:gd name="T4" fmla="*/ 0 w 174"/>
              <a:gd name="T5" fmla="*/ 105055 h 204"/>
              <a:gd name="T6" fmla="*/ 15656 w 174"/>
              <a:gd name="T7" fmla="*/ 87546 h 204"/>
              <a:gd name="T8" fmla="*/ 46968 w 174"/>
              <a:gd name="T9" fmla="*/ 81710 h 204"/>
              <a:gd name="T10" fmla="*/ 78280 w 174"/>
              <a:gd name="T11" fmla="*/ 64201 h 204"/>
              <a:gd name="T12" fmla="*/ 125249 w 174"/>
              <a:gd name="T13" fmla="*/ 23346 h 204"/>
              <a:gd name="T14" fmla="*/ 180045 w 174"/>
              <a:gd name="T15" fmla="*/ 0 h 204"/>
              <a:gd name="T16" fmla="*/ 211357 w 174"/>
              <a:gd name="T17" fmla="*/ 11673 h 204"/>
              <a:gd name="T18" fmla="*/ 227013 w 174"/>
              <a:gd name="T19" fmla="*/ 29182 h 204"/>
              <a:gd name="T20" fmla="*/ 203529 w 174"/>
              <a:gd name="T21" fmla="*/ 46691 h 204"/>
              <a:gd name="T22" fmla="*/ 195701 w 174"/>
              <a:gd name="T23" fmla="*/ 64201 h 204"/>
              <a:gd name="T24" fmla="*/ 203529 w 174"/>
              <a:gd name="T25" fmla="*/ 87546 h 204"/>
              <a:gd name="T26" fmla="*/ 227013 w 174"/>
              <a:gd name="T27" fmla="*/ 105055 h 204"/>
              <a:gd name="T28" fmla="*/ 203529 w 174"/>
              <a:gd name="T29" fmla="*/ 116728 h 204"/>
              <a:gd name="T30" fmla="*/ 195701 w 174"/>
              <a:gd name="T31" fmla="*/ 128401 h 204"/>
              <a:gd name="T32" fmla="*/ 180045 w 174"/>
              <a:gd name="T33" fmla="*/ 145910 h 204"/>
              <a:gd name="T34" fmla="*/ 164389 w 174"/>
              <a:gd name="T35" fmla="*/ 163420 h 204"/>
              <a:gd name="T36" fmla="*/ 148733 w 174"/>
              <a:gd name="T37" fmla="*/ 192602 h 204"/>
              <a:gd name="T38" fmla="*/ 117421 w 174"/>
              <a:gd name="T39" fmla="*/ 198438 h 204"/>
              <a:gd name="T40" fmla="*/ 93936 w 174"/>
              <a:gd name="T41" fmla="*/ 186765 h 204"/>
              <a:gd name="T42" fmla="*/ 54796 w 174"/>
              <a:gd name="T43" fmla="*/ 186765 h 204"/>
              <a:gd name="T44" fmla="*/ 31312 w 174"/>
              <a:gd name="T45" fmla="*/ 186765 h 204"/>
              <a:gd name="T46" fmla="*/ 15656 w 174"/>
              <a:gd name="T47" fmla="*/ 163420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4"/>
              <a:gd name="T73" fmla="*/ 0 h 204"/>
              <a:gd name="T74" fmla="*/ 174 w 174"/>
              <a:gd name="T75" fmla="*/ 204 h 2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43" name="Freeform 1312"/>
          <p:cNvSpPr>
            <a:spLocks/>
          </p:cNvSpPr>
          <p:nvPr/>
        </p:nvSpPr>
        <p:spPr bwMode="auto">
          <a:xfrm>
            <a:off x="7424167" y="3930799"/>
            <a:ext cx="141287" cy="146050"/>
          </a:xfrm>
          <a:custGeom>
            <a:avLst/>
            <a:gdLst>
              <a:gd name="T0" fmla="*/ 15699 w 108"/>
              <a:gd name="T1" fmla="*/ 17410 h 151"/>
              <a:gd name="T2" fmla="*/ 0 w 108"/>
              <a:gd name="T3" fmla="*/ 40623 h 151"/>
              <a:gd name="T4" fmla="*/ 7849 w 108"/>
              <a:gd name="T5" fmla="*/ 69640 h 151"/>
              <a:gd name="T6" fmla="*/ 23548 w 108"/>
              <a:gd name="T7" fmla="*/ 82214 h 151"/>
              <a:gd name="T8" fmla="*/ 47096 w 108"/>
              <a:gd name="T9" fmla="*/ 88017 h 151"/>
              <a:gd name="T10" fmla="*/ 94191 w 108"/>
              <a:gd name="T11" fmla="*/ 105427 h 151"/>
              <a:gd name="T12" fmla="*/ 102041 w 108"/>
              <a:gd name="T13" fmla="*/ 134443 h 151"/>
              <a:gd name="T14" fmla="*/ 141287 w 108"/>
              <a:gd name="T15" fmla="*/ 146050 h 151"/>
              <a:gd name="T16" fmla="*/ 133438 w 108"/>
              <a:gd name="T17" fmla="*/ 122837 h 151"/>
              <a:gd name="T18" fmla="*/ 102041 w 108"/>
              <a:gd name="T19" fmla="*/ 88017 h 151"/>
              <a:gd name="T20" fmla="*/ 54945 w 108"/>
              <a:gd name="T21" fmla="*/ 63836 h 151"/>
              <a:gd name="T22" fmla="*/ 62794 w 108"/>
              <a:gd name="T23" fmla="*/ 46426 h 151"/>
              <a:gd name="T24" fmla="*/ 70644 w 108"/>
              <a:gd name="T25" fmla="*/ 11607 h 151"/>
              <a:gd name="T26" fmla="*/ 39246 w 108"/>
              <a:gd name="T27" fmla="*/ 0 h 151"/>
              <a:gd name="T28" fmla="*/ 15699 w 108"/>
              <a:gd name="T29" fmla="*/ 17410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151"/>
              <a:gd name="T47" fmla="*/ 108 w 108"/>
              <a:gd name="T48" fmla="*/ 151 h 1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44" name="Freeform 1313"/>
          <p:cNvSpPr>
            <a:spLocks/>
          </p:cNvSpPr>
          <p:nvPr/>
        </p:nvSpPr>
        <p:spPr bwMode="auto">
          <a:xfrm>
            <a:off x="7481317" y="4100662"/>
            <a:ext cx="115887" cy="69850"/>
          </a:xfrm>
          <a:custGeom>
            <a:avLst/>
            <a:gdLst>
              <a:gd name="T0" fmla="*/ 0 w 90"/>
              <a:gd name="T1" fmla="*/ 52387 h 72"/>
              <a:gd name="T2" fmla="*/ 23177 w 90"/>
              <a:gd name="T3" fmla="*/ 23283 h 72"/>
              <a:gd name="T4" fmla="*/ 54081 w 90"/>
              <a:gd name="T5" fmla="*/ 23283 h 72"/>
              <a:gd name="T6" fmla="*/ 77258 w 90"/>
              <a:gd name="T7" fmla="*/ 0 h 72"/>
              <a:gd name="T8" fmla="*/ 115887 w 90"/>
              <a:gd name="T9" fmla="*/ 23283 h 72"/>
              <a:gd name="T10" fmla="*/ 115887 w 90"/>
              <a:gd name="T11" fmla="*/ 69850 h 72"/>
              <a:gd name="T12" fmla="*/ 77258 w 90"/>
              <a:gd name="T13" fmla="*/ 58208 h 72"/>
              <a:gd name="T14" fmla="*/ 54081 w 90"/>
              <a:gd name="T15" fmla="*/ 58208 h 72"/>
              <a:gd name="T16" fmla="*/ 30903 w 90"/>
              <a:gd name="T17" fmla="*/ 46567 h 72"/>
              <a:gd name="T18" fmla="*/ 0 w 90"/>
              <a:gd name="T19" fmla="*/ 5238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72"/>
              <a:gd name="T32" fmla="*/ 90 w 90"/>
              <a:gd name="T33" fmla="*/ 72 h 7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45" name="Freeform 1314"/>
          <p:cNvSpPr>
            <a:spLocks/>
          </p:cNvSpPr>
          <p:nvPr/>
        </p:nvSpPr>
        <p:spPr bwMode="auto">
          <a:xfrm>
            <a:off x="7401942" y="4251474"/>
            <a:ext cx="141287" cy="130175"/>
          </a:xfrm>
          <a:custGeom>
            <a:avLst/>
            <a:gdLst>
              <a:gd name="T0" fmla="*/ 15699 w 108"/>
              <a:gd name="T1" fmla="*/ 124258 h 132"/>
              <a:gd name="T2" fmla="*/ 15699 w 108"/>
              <a:gd name="T3" fmla="*/ 106507 h 132"/>
              <a:gd name="T4" fmla="*/ 0 w 108"/>
              <a:gd name="T5" fmla="*/ 82839 h 132"/>
              <a:gd name="T6" fmla="*/ 7849 w 108"/>
              <a:gd name="T7" fmla="*/ 65088 h 132"/>
              <a:gd name="T8" fmla="*/ 31397 w 108"/>
              <a:gd name="T9" fmla="*/ 23668 h 132"/>
              <a:gd name="T10" fmla="*/ 47096 w 108"/>
              <a:gd name="T11" fmla="*/ 11834 h 132"/>
              <a:gd name="T12" fmla="*/ 86342 w 108"/>
              <a:gd name="T13" fmla="*/ 5917 h 132"/>
              <a:gd name="T14" fmla="*/ 141287 w 108"/>
              <a:gd name="T15" fmla="*/ 0 h 132"/>
              <a:gd name="T16" fmla="*/ 141287 w 108"/>
              <a:gd name="T17" fmla="*/ 11834 h 132"/>
              <a:gd name="T18" fmla="*/ 117739 w 108"/>
              <a:gd name="T19" fmla="*/ 11834 h 132"/>
              <a:gd name="T20" fmla="*/ 70644 w 108"/>
              <a:gd name="T21" fmla="*/ 23668 h 132"/>
              <a:gd name="T22" fmla="*/ 54945 w 108"/>
              <a:gd name="T23" fmla="*/ 41419 h 132"/>
              <a:gd name="T24" fmla="*/ 109890 w 108"/>
              <a:gd name="T25" fmla="*/ 41419 h 132"/>
              <a:gd name="T26" fmla="*/ 117739 w 108"/>
              <a:gd name="T27" fmla="*/ 59170 h 132"/>
              <a:gd name="T28" fmla="*/ 102041 w 108"/>
              <a:gd name="T29" fmla="*/ 65088 h 132"/>
              <a:gd name="T30" fmla="*/ 86342 w 108"/>
              <a:gd name="T31" fmla="*/ 76922 h 132"/>
              <a:gd name="T32" fmla="*/ 117739 w 108"/>
              <a:gd name="T33" fmla="*/ 100590 h 132"/>
              <a:gd name="T34" fmla="*/ 125588 w 108"/>
              <a:gd name="T35" fmla="*/ 124258 h 132"/>
              <a:gd name="T36" fmla="*/ 94191 w 108"/>
              <a:gd name="T37" fmla="*/ 124258 h 132"/>
              <a:gd name="T38" fmla="*/ 70644 w 108"/>
              <a:gd name="T39" fmla="*/ 106507 h 132"/>
              <a:gd name="T40" fmla="*/ 47096 w 108"/>
              <a:gd name="T41" fmla="*/ 82839 h 132"/>
              <a:gd name="T42" fmla="*/ 47096 w 108"/>
              <a:gd name="T43" fmla="*/ 112424 h 132"/>
              <a:gd name="T44" fmla="*/ 47096 w 108"/>
              <a:gd name="T45" fmla="*/ 130175 h 132"/>
              <a:gd name="T46" fmla="*/ 15699 w 108"/>
              <a:gd name="T47" fmla="*/ 124258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8"/>
              <a:gd name="T73" fmla="*/ 0 h 132"/>
              <a:gd name="T74" fmla="*/ 108 w 108"/>
              <a:gd name="T75" fmla="*/ 132 h 13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46" name="Freeform 1315"/>
          <p:cNvSpPr>
            <a:spLocks/>
          </p:cNvSpPr>
          <p:nvPr/>
        </p:nvSpPr>
        <p:spPr bwMode="auto">
          <a:xfrm>
            <a:off x="7081267" y="4399112"/>
            <a:ext cx="265112" cy="46037"/>
          </a:xfrm>
          <a:custGeom>
            <a:avLst/>
            <a:gdLst>
              <a:gd name="T0" fmla="*/ 0 w 34"/>
              <a:gd name="T1" fmla="*/ 5755 h 8"/>
              <a:gd name="T2" fmla="*/ 70177 w 34"/>
              <a:gd name="T3" fmla="*/ 0 h 8"/>
              <a:gd name="T4" fmla="*/ 124759 w 34"/>
              <a:gd name="T5" fmla="*/ 0 h 8"/>
              <a:gd name="T6" fmla="*/ 155948 w 34"/>
              <a:gd name="T7" fmla="*/ 5755 h 8"/>
              <a:gd name="T8" fmla="*/ 179340 w 34"/>
              <a:gd name="T9" fmla="*/ 17264 h 8"/>
              <a:gd name="T10" fmla="*/ 241720 w 34"/>
              <a:gd name="T11" fmla="*/ 28773 h 8"/>
              <a:gd name="T12" fmla="*/ 265112 w 34"/>
              <a:gd name="T13" fmla="*/ 46037 h 8"/>
              <a:gd name="T14" fmla="*/ 202733 w 34"/>
              <a:gd name="T15" fmla="*/ 40282 h 8"/>
              <a:gd name="T16" fmla="*/ 148151 w 34"/>
              <a:gd name="T17" fmla="*/ 34528 h 8"/>
              <a:gd name="T18" fmla="*/ 62379 w 34"/>
              <a:gd name="T19" fmla="*/ 23019 h 8"/>
              <a:gd name="T20" fmla="*/ 0 w 34"/>
              <a:gd name="T21" fmla="*/ 5755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8"/>
              <a:gd name="T35" fmla="*/ 34 w 34"/>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47" name="Freeform 1316"/>
          <p:cNvSpPr>
            <a:spLocks/>
          </p:cNvSpPr>
          <p:nvPr/>
        </p:nvSpPr>
        <p:spPr bwMode="auto">
          <a:xfrm>
            <a:off x="2874392" y="3171974"/>
            <a:ext cx="158750" cy="134938"/>
          </a:xfrm>
          <a:custGeom>
            <a:avLst/>
            <a:gdLst>
              <a:gd name="T0" fmla="*/ 0 w 120"/>
              <a:gd name="T1" fmla="*/ 111471 h 138"/>
              <a:gd name="T2" fmla="*/ 0 w 120"/>
              <a:gd name="T3" fmla="*/ 88003 h 138"/>
              <a:gd name="T4" fmla="*/ 7938 w 120"/>
              <a:gd name="T5" fmla="*/ 70402 h 138"/>
              <a:gd name="T6" fmla="*/ 47625 w 120"/>
              <a:gd name="T7" fmla="*/ 23467 h 138"/>
              <a:gd name="T8" fmla="*/ 87313 w 120"/>
              <a:gd name="T9" fmla="*/ 0 h 138"/>
              <a:gd name="T10" fmla="*/ 87313 w 120"/>
              <a:gd name="T11" fmla="*/ 17601 h 138"/>
              <a:gd name="T12" fmla="*/ 71438 w 120"/>
              <a:gd name="T13" fmla="*/ 41068 h 138"/>
              <a:gd name="T14" fmla="*/ 79375 w 120"/>
              <a:gd name="T15" fmla="*/ 52802 h 138"/>
              <a:gd name="T16" fmla="*/ 142875 w 120"/>
              <a:gd name="T17" fmla="*/ 76269 h 138"/>
              <a:gd name="T18" fmla="*/ 158750 w 120"/>
              <a:gd name="T19" fmla="*/ 105604 h 138"/>
              <a:gd name="T20" fmla="*/ 158750 w 120"/>
              <a:gd name="T21" fmla="*/ 129071 h 138"/>
              <a:gd name="T22" fmla="*/ 127000 w 120"/>
              <a:gd name="T23" fmla="*/ 134938 h 138"/>
              <a:gd name="T24" fmla="*/ 111125 w 120"/>
              <a:gd name="T25" fmla="*/ 117337 h 138"/>
              <a:gd name="T26" fmla="*/ 87313 w 120"/>
              <a:gd name="T27" fmla="*/ 123204 h 138"/>
              <a:gd name="T28" fmla="*/ 63500 w 120"/>
              <a:gd name="T29" fmla="*/ 111471 h 138"/>
              <a:gd name="T30" fmla="*/ 23813 w 120"/>
              <a:gd name="T31" fmla="*/ 105604 h 138"/>
              <a:gd name="T32" fmla="*/ 0 w 120"/>
              <a:gd name="T33" fmla="*/ 111471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0"/>
              <a:gd name="T52" fmla="*/ 0 h 138"/>
              <a:gd name="T53" fmla="*/ 120 w 120"/>
              <a:gd name="T54" fmla="*/ 138 h 1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solidFill>
            <a:schemeClr val="bg2"/>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48" name="Freeform 1317"/>
          <p:cNvSpPr>
            <a:spLocks/>
          </p:cNvSpPr>
          <p:nvPr/>
        </p:nvSpPr>
        <p:spPr bwMode="auto">
          <a:xfrm>
            <a:off x="2221929" y="3851424"/>
            <a:ext cx="276225" cy="58738"/>
          </a:xfrm>
          <a:custGeom>
            <a:avLst/>
            <a:gdLst/>
            <a:ahLst/>
            <a:cxnLst>
              <a:cxn ang="0">
                <a:pos x="2" y="1"/>
              </a:cxn>
              <a:cxn ang="0">
                <a:pos x="8" y="0"/>
              </a:cxn>
              <a:cxn ang="0">
                <a:pos x="19" y="0"/>
              </a:cxn>
              <a:cxn ang="0">
                <a:pos x="26" y="3"/>
              </a:cxn>
              <a:cxn ang="0">
                <a:pos x="28" y="6"/>
              </a:cxn>
              <a:cxn ang="0">
                <a:pos x="33" y="7"/>
              </a:cxn>
              <a:cxn ang="0">
                <a:pos x="35" y="9"/>
              </a:cxn>
              <a:cxn ang="0">
                <a:pos x="33" y="10"/>
              </a:cxn>
              <a:cxn ang="0">
                <a:pos x="25" y="10"/>
              </a:cxn>
              <a:cxn ang="0">
                <a:pos x="23" y="8"/>
              </a:cxn>
              <a:cxn ang="0">
                <a:pos x="21" y="5"/>
              </a:cxn>
              <a:cxn ang="0">
                <a:pos x="15" y="4"/>
              </a:cxn>
              <a:cxn ang="0">
                <a:pos x="9" y="4"/>
              </a:cxn>
              <a:cxn ang="0">
                <a:pos x="5" y="4"/>
              </a:cxn>
              <a:cxn ang="0">
                <a:pos x="0" y="3"/>
              </a:cxn>
              <a:cxn ang="0">
                <a:pos x="2" y="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solidFill>
            <a:schemeClr val="accent3"/>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249" name="Freeform 1318"/>
          <p:cNvSpPr>
            <a:spLocks/>
          </p:cNvSpPr>
          <p:nvPr/>
        </p:nvSpPr>
        <p:spPr bwMode="auto">
          <a:xfrm>
            <a:off x="2498154" y="3916512"/>
            <a:ext cx="171450" cy="34925"/>
          </a:xfrm>
          <a:custGeom>
            <a:avLst/>
            <a:gdLst/>
            <a:ahLst/>
            <a:cxnLst>
              <a:cxn ang="0">
                <a:pos x="24" y="0"/>
              </a:cxn>
              <a:cxn ang="0">
                <a:pos x="24" y="12"/>
              </a:cxn>
              <a:cxn ang="0">
                <a:pos x="0" y="18"/>
              </a:cxn>
              <a:cxn ang="0">
                <a:pos x="30" y="30"/>
              </a:cxn>
              <a:cxn ang="0">
                <a:pos x="42" y="36"/>
              </a:cxn>
              <a:cxn ang="0">
                <a:pos x="66" y="36"/>
              </a:cxn>
              <a:cxn ang="0">
                <a:pos x="84" y="24"/>
              </a:cxn>
              <a:cxn ang="0">
                <a:pos x="132" y="30"/>
              </a:cxn>
              <a:cxn ang="0">
                <a:pos x="108" y="18"/>
              </a:cxn>
              <a:cxn ang="0">
                <a:pos x="72" y="0"/>
              </a:cxn>
              <a:cxn ang="0">
                <a:pos x="24" y="0"/>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solidFill>
            <a:schemeClr val="accent3"/>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250" name="Freeform 1319"/>
          <p:cNvSpPr>
            <a:spLocks/>
          </p:cNvSpPr>
          <p:nvPr/>
        </p:nvSpPr>
        <p:spPr bwMode="auto">
          <a:xfrm>
            <a:off x="4741292" y="3510112"/>
            <a:ext cx="77787" cy="34925"/>
          </a:xfrm>
          <a:custGeom>
            <a:avLst/>
            <a:gdLst>
              <a:gd name="T0" fmla="*/ 0 w 60"/>
              <a:gd name="T1" fmla="*/ 11642 h 36"/>
              <a:gd name="T2" fmla="*/ 46672 w 60"/>
              <a:gd name="T3" fmla="*/ 0 h 36"/>
              <a:gd name="T4" fmla="*/ 77787 w 60"/>
              <a:gd name="T5" fmla="*/ 5821 h 36"/>
              <a:gd name="T6" fmla="*/ 77787 w 60"/>
              <a:gd name="T7" fmla="*/ 17463 h 36"/>
              <a:gd name="T8" fmla="*/ 70008 w 60"/>
              <a:gd name="T9" fmla="*/ 34925 h 36"/>
              <a:gd name="T10" fmla="*/ 38894 w 60"/>
              <a:gd name="T11" fmla="*/ 23283 h 36"/>
              <a:gd name="T12" fmla="*/ 0 w 60"/>
              <a:gd name="T13" fmla="*/ 11642 h 36"/>
              <a:gd name="T14" fmla="*/ 0 60000 65536"/>
              <a:gd name="T15" fmla="*/ 0 60000 65536"/>
              <a:gd name="T16" fmla="*/ 0 60000 65536"/>
              <a:gd name="T17" fmla="*/ 0 60000 65536"/>
              <a:gd name="T18" fmla="*/ 0 60000 65536"/>
              <a:gd name="T19" fmla="*/ 0 60000 65536"/>
              <a:gd name="T20" fmla="*/ 0 60000 65536"/>
              <a:gd name="T21" fmla="*/ 0 w 60"/>
              <a:gd name="T22" fmla="*/ 0 h 36"/>
              <a:gd name="T23" fmla="*/ 60 w 60"/>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36">
                <a:moveTo>
                  <a:pt x="0" y="12"/>
                </a:moveTo>
                <a:lnTo>
                  <a:pt x="36" y="0"/>
                </a:lnTo>
                <a:lnTo>
                  <a:pt x="60" y="6"/>
                </a:lnTo>
                <a:lnTo>
                  <a:pt x="60" y="18"/>
                </a:lnTo>
                <a:lnTo>
                  <a:pt x="54" y="36"/>
                </a:lnTo>
                <a:lnTo>
                  <a:pt x="30" y="24"/>
                </a:lnTo>
                <a:lnTo>
                  <a:pt x="0" y="12"/>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51" name="Freeform 1320"/>
          <p:cNvSpPr>
            <a:spLocks/>
          </p:cNvSpPr>
          <p:nvPr/>
        </p:nvSpPr>
        <p:spPr bwMode="auto">
          <a:xfrm>
            <a:off x="4653979" y="3445024"/>
            <a:ext cx="31750" cy="46038"/>
          </a:xfrm>
          <a:custGeom>
            <a:avLst/>
            <a:gdLst>
              <a:gd name="T0" fmla="*/ 0 w 24"/>
              <a:gd name="T1" fmla="*/ 46038 h 48"/>
              <a:gd name="T2" fmla="*/ 7938 w 24"/>
              <a:gd name="T3" fmla="*/ 5755 h 48"/>
              <a:gd name="T4" fmla="*/ 23813 w 24"/>
              <a:gd name="T5" fmla="*/ 0 h 48"/>
              <a:gd name="T6" fmla="*/ 31750 w 24"/>
              <a:gd name="T7" fmla="*/ 23019 h 48"/>
              <a:gd name="T8" fmla="*/ 31750 w 24"/>
              <a:gd name="T9" fmla="*/ 46038 h 48"/>
              <a:gd name="T10" fmla="*/ 0 w 24"/>
              <a:gd name="T11" fmla="*/ 46038 h 48"/>
              <a:gd name="T12" fmla="*/ 0 60000 65536"/>
              <a:gd name="T13" fmla="*/ 0 60000 65536"/>
              <a:gd name="T14" fmla="*/ 0 60000 65536"/>
              <a:gd name="T15" fmla="*/ 0 60000 65536"/>
              <a:gd name="T16" fmla="*/ 0 60000 65536"/>
              <a:gd name="T17" fmla="*/ 0 60000 65536"/>
              <a:gd name="T18" fmla="*/ 0 w 24"/>
              <a:gd name="T19" fmla="*/ 0 h 48"/>
              <a:gd name="T20" fmla="*/ 24 w 24"/>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4" h="48">
                <a:moveTo>
                  <a:pt x="0" y="48"/>
                </a:moveTo>
                <a:lnTo>
                  <a:pt x="6" y="6"/>
                </a:lnTo>
                <a:lnTo>
                  <a:pt x="18" y="0"/>
                </a:lnTo>
                <a:lnTo>
                  <a:pt x="24" y="24"/>
                </a:lnTo>
                <a:lnTo>
                  <a:pt x="24" y="48"/>
                </a:lnTo>
                <a:lnTo>
                  <a:pt x="0" y="48"/>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52" name="Freeform 1321"/>
          <p:cNvSpPr>
            <a:spLocks/>
          </p:cNvSpPr>
          <p:nvPr/>
        </p:nvSpPr>
        <p:spPr bwMode="auto">
          <a:xfrm>
            <a:off x="4646042" y="3397399"/>
            <a:ext cx="39687" cy="34925"/>
          </a:xfrm>
          <a:custGeom>
            <a:avLst/>
            <a:gdLst>
              <a:gd name="T0" fmla="*/ 0 w 30"/>
              <a:gd name="T1" fmla="*/ 11327 h 37"/>
              <a:gd name="T2" fmla="*/ 31750 w 30"/>
              <a:gd name="T3" fmla="*/ 0 h 37"/>
              <a:gd name="T4" fmla="*/ 39687 w 30"/>
              <a:gd name="T5" fmla="*/ 22654 h 37"/>
              <a:gd name="T6" fmla="*/ 31750 w 30"/>
              <a:gd name="T7" fmla="*/ 34925 h 37"/>
              <a:gd name="T8" fmla="*/ 0 w 30"/>
              <a:gd name="T9" fmla="*/ 11327 h 37"/>
              <a:gd name="T10" fmla="*/ 0 60000 65536"/>
              <a:gd name="T11" fmla="*/ 0 60000 65536"/>
              <a:gd name="T12" fmla="*/ 0 60000 65536"/>
              <a:gd name="T13" fmla="*/ 0 60000 65536"/>
              <a:gd name="T14" fmla="*/ 0 60000 65536"/>
              <a:gd name="T15" fmla="*/ 0 w 30"/>
              <a:gd name="T16" fmla="*/ 0 h 37"/>
              <a:gd name="T17" fmla="*/ 30 w 30"/>
              <a:gd name="T18" fmla="*/ 37 h 37"/>
            </a:gdLst>
            <a:ahLst/>
            <a:cxnLst>
              <a:cxn ang="T10">
                <a:pos x="T0" y="T1"/>
              </a:cxn>
              <a:cxn ang="T11">
                <a:pos x="T2" y="T3"/>
              </a:cxn>
              <a:cxn ang="T12">
                <a:pos x="T4" y="T5"/>
              </a:cxn>
              <a:cxn ang="T13">
                <a:pos x="T6" y="T7"/>
              </a:cxn>
              <a:cxn ang="T14">
                <a:pos x="T8" y="T9"/>
              </a:cxn>
            </a:cxnLst>
            <a:rect l="T15" t="T16" r="T17" b="T18"/>
            <a:pathLst>
              <a:path w="30" h="37">
                <a:moveTo>
                  <a:pt x="0" y="12"/>
                </a:moveTo>
                <a:lnTo>
                  <a:pt x="24" y="0"/>
                </a:lnTo>
                <a:lnTo>
                  <a:pt x="30" y="24"/>
                </a:lnTo>
                <a:lnTo>
                  <a:pt x="24" y="37"/>
                </a:lnTo>
                <a:lnTo>
                  <a:pt x="0" y="12"/>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53" name="Freeform 1322"/>
          <p:cNvSpPr>
            <a:spLocks/>
          </p:cNvSpPr>
          <p:nvPr/>
        </p:nvSpPr>
        <p:spPr bwMode="auto">
          <a:xfrm>
            <a:off x="5463604" y="3538687"/>
            <a:ext cx="39688" cy="6350"/>
          </a:xfrm>
          <a:custGeom>
            <a:avLst/>
            <a:gdLst>
              <a:gd name="T0" fmla="*/ 31750 w 30"/>
              <a:gd name="T1" fmla="*/ 0 h 6"/>
              <a:gd name="T2" fmla="*/ 39688 w 30"/>
              <a:gd name="T3" fmla="*/ 0 h 6"/>
              <a:gd name="T4" fmla="*/ 0 w 30"/>
              <a:gd name="T5" fmla="*/ 6350 h 6"/>
              <a:gd name="T6" fmla="*/ 31750 w 30"/>
              <a:gd name="T7" fmla="*/ 0 h 6"/>
              <a:gd name="T8" fmla="*/ 0 60000 65536"/>
              <a:gd name="T9" fmla="*/ 0 60000 65536"/>
              <a:gd name="T10" fmla="*/ 0 60000 65536"/>
              <a:gd name="T11" fmla="*/ 0 60000 65536"/>
              <a:gd name="T12" fmla="*/ 0 w 30"/>
              <a:gd name="T13" fmla="*/ 0 h 6"/>
              <a:gd name="T14" fmla="*/ 30 w 30"/>
              <a:gd name="T15" fmla="*/ 6 h 6"/>
            </a:gdLst>
            <a:ahLst/>
            <a:cxnLst>
              <a:cxn ang="T8">
                <a:pos x="T0" y="T1"/>
              </a:cxn>
              <a:cxn ang="T9">
                <a:pos x="T2" y="T3"/>
              </a:cxn>
              <a:cxn ang="T10">
                <a:pos x="T4" y="T5"/>
              </a:cxn>
              <a:cxn ang="T11">
                <a:pos x="T6" y="T7"/>
              </a:cxn>
            </a:cxnLst>
            <a:rect l="T12" t="T13" r="T14" b="T15"/>
            <a:pathLst>
              <a:path w="30" h="6">
                <a:moveTo>
                  <a:pt x="24" y="0"/>
                </a:moveTo>
                <a:lnTo>
                  <a:pt x="30" y="0"/>
                </a:lnTo>
                <a:lnTo>
                  <a:pt x="0" y="6"/>
                </a:lnTo>
                <a:lnTo>
                  <a:pt x="24" y="0"/>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54" name="Rectangle 1323"/>
          <p:cNvSpPr>
            <a:spLocks noChangeArrowheads="1"/>
          </p:cNvSpPr>
          <p:nvPr/>
        </p:nvSpPr>
        <p:spPr bwMode="auto">
          <a:xfrm>
            <a:off x="5323904" y="3713312"/>
            <a:ext cx="0" cy="1587"/>
          </a:xfrm>
          <a:prstGeom prst="rect">
            <a:avLst/>
          </a:prstGeom>
          <a:solidFill>
            <a:srgbClr val="63A1CF"/>
          </a:solidFill>
          <a:ln w="9525">
            <a:solidFill>
              <a:schemeClr val="bg1"/>
            </a:solidFill>
            <a:miter lim="800000"/>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55" name="Freeform 1324"/>
          <p:cNvSpPr>
            <a:spLocks/>
          </p:cNvSpPr>
          <p:nvPr/>
        </p:nvSpPr>
        <p:spPr bwMode="auto">
          <a:xfrm>
            <a:off x="5093717" y="3427562"/>
            <a:ext cx="463550" cy="133350"/>
          </a:xfrm>
          <a:custGeom>
            <a:avLst/>
            <a:gdLst>
              <a:gd name="T0" fmla="*/ 267131 w 59"/>
              <a:gd name="T1" fmla="*/ 115957 h 23"/>
              <a:gd name="T2" fmla="*/ 282844 w 59"/>
              <a:gd name="T3" fmla="*/ 121754 h 23"/>
              <a:gd name="T4" fmla="*/ 369269 w 59"/>
              <a:gd name="T5" fmla="*/ 115957 h 23"/>
              <a:gd name="T6" fmla="*/ 408553 w 59"/>
              <a:gd name="T7" fmla="*/ 110159 h 23"/>
              <a:gd name="T8" fmla="*/ 447836 w 59"/>
              <a:gd name="T9" fmla="*/ 104361 h 23"/>
              <a:gd name="T10" fmla="*/ 463550 w 59"/>
              <a:gd name="T11" fmla="*/ 110159 h 23"/>
              <a:gd name="T12" fmla="*/ 455693 w 59"/>
              <a:gd name="T13" fmla="*/ 92765 h 23"/>
              <a:gd name="T14" fmla="*/ 455693 w 59"/>
              <a:gd name="T15" fmla="*/ 52180 h 23"/>
              <a:gd name="T16" fmla="*/ 463550 w 59"/>
              <a:gd name="T17" fmla="*/ 46383 h 23"/>
              <a:gd name="T18" fmla="*/ 432123 w 59"/>
              <a:gd name="T19" fmla="*/ 17393 h 23"/>
              <a:gd name="T20" fmla="*/ 416409 w 59"/>
              <a:gd name="T21" fmla="*/ 5798 h 23"/>
              <a:gd name="T22" fmla="*/ 392839 w 59"/>
              <a:gd name="T23" fmla="*/ 5798 h 23"/>
              <a:gd name="T24" fmla="*/ 384982 w 59"/>
              <a:gd name="T25" fmla="*/ 0 h 23"/>
              <a:gd name="T26" fmla="*/ 384982 w 59"/>
              <a:gd name="T27" fmla="*/ 0 h 23"/>
              <a:gd name="T28" fmla="*/ 353555 w 59"/>
              <a:gd name="T29" fmla="*/ 17393 h 23"/>
              <a:gd name="T30" fmla="*/ 314271 w 59"/>
              <a:gd name="T31" fmla="*/ 17393 h 23"/>
              <a:gd name="T32" fmla="*/ 306414 w 59"/>
              <a:gd name="T33" fmla="*/ 17393 h 23"/>
              <a:gd name="T34" fmla="*/ 306414 w 59"/>
              <a:gd name="T35" fmla="*/ 17393 h 23"/>
              <a:gd name="T36" fmla="*/ 274987 w 59"/>
              <a:gd name="T37" fmla="*/ 5798 h 23"/>
              <a:gd name="T38" fmla="*/ 251417 w 59"/>
              <a:gd name="T39" fmla="*/ 0 h 23"/>
              <a:gd name="T40" fmla="*/ 188563 w 59"/>
              <a:gd name="T41" fmla="*/ 0 h 23"/>
              <a:gd name="T42" fmla="*/ 172849 w 59"/>
              <a:gd name="T43" fmla="*/ 0 h 23"/>
              <a:gd name="T44" fmla="*/ 149279 w 59"/>
              <a:gd name="T45" fmla="*/ 5798 h 23"/>
              <a:gd name="T46" fmla="*/ 133565 w 59"/>
              <a:gd name="T47" fmla="*/ 17393 h 23"/>
              <a:gd name="T48" fmla="*/ 94281 w 59"/>
              <a:gd name="T49" fmla="*/ 23191 h 23"/>
              <a:gd name="T50" fmla="*/ 86425 w 59"/>
              <a:gd name="T51" fmla="*/ 17393 h 23"/>
              <a:gd name="T52" fmla="*/ 78568 w 59"/>
              <a:gd name="T53" fmla="*/ 17393 h 23"/>
              <a:gd name="T54" fmla="*/ 62854 w 59"/>
              <a:gd name="T55" fmla="*/ 34787 h 23"/>
              <a:gd name="T56" fmla="*/ 31427 w 59"/>
              <a:gd name="T57" fmla="*/ 34787 h 23"/>
              <a:gd name="T58" fmla="*/ 0 w 59"/>
              <a:gd name="T59" fmla="*/ 52180 h 23"/>
              <a:gd name="T60" fmla="*/ 15714 w 59"/>
              <a:gd name="T61" fmla="*/ 69574 h 23"/>
              <a:gd name="T62" fmla="*/ 31427 w 59"/>
              <a:gd name="T63" fmla="*/ 98563 h 23"/>
              <a:gd name="T64" fmla="*/ 47141 w 59"/>
              <a:gd name="T65" fmla="*/ 115957 h 23"/>
              <a:gd name="T66" fmla="*/ 117852 w 59"/>
              <a:gd name="T67" fmla="*/ 121754 h 23"/>
              <a:gd name="T68" fmla="*/ 125709 w 59"/>
              <a:gd name="T69" fmla="*/ 121754 h 23"/>
              <a:gd name="T70" fmla="*/ 180706 w 59"/>
              <a:gd name="T71" fmla="*/ 133350 h 23"/>
              <a:gd name="T72" fmla="*/ 212133 w 59"/>
              <a:gd name="T73" fmla="*/ 121754 h 23"/>
              <a:gd name="T74" fmla="*/ 243560 w 59"/>
              <a:gd name="T75" fmla="*/ 133350 h 23"/>
              <a:gd name="T76" fmla="*/ 243560 w 59"/>
              <a:gd name="T77" fmla="*/ 133350 h 23"/>
              <a:gd name="T78" fmla="*/ 243560 w 59"/>
              <a:gd name="T79" fmla="*/ 133350 h 23"/>
              <a:gd name="T80" fmla="*/ 267131 w 59"/>
              <a:gd name="T81" fmla="*/ 115957 h 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9"/>
              <a:gd name="T124" fmla="*/ 0 h 23"/>
              <a:gd name="T125" fmla="*/ 59 w 59"/>
              <a:gd name="T126" fmla="*/ 23 h 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9" h="23">
                <a:moveTo>
                  <a:pt x="34" y="20"/>
                </a:moveTo>
                <a:cubicBezTo>
                  <a:pt x="36" y="21"/>
                  <a:pt x="36" y="21"/>
                  <a:pt x="36" y="21"/>
                </a:cubicBezTo>
                <a:cubicBezTo>
                  <a:pt x="47" y="20"/>
                  <a:pt x="47" y="20"/>
                  <a:pt x="47" y="20"/>
                </a:cubicBezTo>
                <a:cubicBezTo>
                  <a:pt x="52" y="19"/>
                  <a:pt x="52" y="19"/>
                  <a:pt x="52" y="19"/>
                </a:cubicBezTo>
                <a:cubicBezTo>
                  <a:pt x="57" y="18"/>
                  <a:pt x="57" y="18"/>
                  <a:pt x="57" y="18"/>
                </a:cubicBezTo>
                <a:cubicBezTo>
                  <a:pt x="59" y="19"/>
                  <a:pt x="59" y="19"/>
                  <a:pt x="59" y="19"/>
                </a:cubicBezTo>
                <a:cubicBezTo>
                  <a:pt x="59" y="19"/>
                  <a:pt x="58" y="16"/>
                  <a:pt x="58" y="16"/>
                </a:cubicBezTo>
                <a:cubicBezTo>
                  <a:pt x="58" y="15"/>
                  <a:pt x="58" y="9"/>
                  <a:pt x="58" y="9"/>
                </a:cubicBezTo>
                <a:cubicBezTo>
                  <a:pt x="59" y="8"/>
                  <a:pt x="59" y="8"/>
                  <a:pt x="59" y="8"/>
                </a:cubicBezTo>
                <a:cubicBezTo>
                  <a:pt x="55" y="3"/>
                  <a:pt x="55" y="3"/>
                  <a:pt x="55" y="3"/>
                </a:cubicBezTo>
                <a:cubicBezTo>
                  <a:pt x="53" y="1"/>
                  <a:pt x="53" y="1"/>
                  <a:pt x="53" y="1"/>
                </a:cubicBezTo>
                <a:cubicBezTo>
                  <a:pt x="50" y="1"/>
                  <a:pt x="50" y="1"/>
                  <a:pt x="50" y="1"/>
                </a:cubicBezTo>
                <a:cubicBezTo>
                  <a:pt x="49" y="0"/>
                  <a:pt x="49" y="0"/>
                  <a:pt x="49" y="0"/>
                </a:cubicBezTo>
                <a:cubicBezTo>
                  <a:pt x="49" y="0"/>
                  <a:pt x="49" y="0"/>
                  <a:pt x="49" y="0"/>
                </a:cubicBezTo>
                <a:cubicBezTo>
                  <a:pt x="45" y="3"/>
                  <a:pt x="45" y="3"/>
                  <a:pt x="45" y="3"/>
                </a:cubicBezTo>
                <a:cubicBezTo>
                  <a:pt x="40" y="3"/>
                  <a:pt x="40" y="3"/>
                  <a:pt x="40" y="3"/>
                </a:cubicBezTo>
                <a:cubicBezTo>
                  <a:pt x="39" y="3"/>
                  <a:pt x="39" y="3"/>
                  <a:pt x="39" y="3"/>
                </a:cubicBezTo>
                <a:cubicBezTo>
                  <a:pt x="39" y="3"/>
                  <a:pt x="39" y="3"/>
                  <a:pt x="39" y="3"/>
                </a:cubicBezTo>
                <a:cubicBezTo>
                  <a:pt x="35" y="1"/>
                  <a:pt x="35" y="1"/>
                  <a:pt x="35" y="1"/>
                </a:cubicBezTo>
                <a:cubicBezTo>
                  <a:pt x="32" y="0"/>
                  <a:pt x="32" y="0"/>
                  <a:pt x="32" y="0"/>
                </a:cubicBezTo>
                <a:cubicBezTo>
                  <a:pt x="24" y="0"/>
                  <a:pt x="24" y="0"/>
                  <a:pt x="24" y="0"/>
                </a:cubicBezTo>
                <a:cubicBezTo>
                  <a:pt x="22" y="0"/>
                  <a:pt x="22" y="0"/>
                  <a:pt x="22" y="0"/>
                </a:cubicBezTo>
                <a:cubicBezTo>
                  <a:pt x="19" y="1"/>
                  <a:pt x="19" y="1"/>
                  <a:pt x="19" y="1"/>
                </a:cubicBezTo>
                <a:cubicBezTo>
                  <a:pt x="17" y="3"/>
                  <a:pt x="17" y="3"/>
                  <a:pt x="17" y="3"/>
                </a:cubicBezTo>
                <a:cubicBezTo>
                  <a:pt x="12" y="4"/>
                  <a:pt x="12" y="4"/>
                  <a:pt x="12" y="4"/>
                </a:cubicBezTo>
                <a:cubicBezTo>
                  <a:pt x="11" y="3"/>
                  <a:pt x="11" y="3"/>
                  <a:pt x="11" y="3"/>
                </a:cubicBezTo>
                <a:cubicBezTo>
                  <a:pt x="10" y="3"/>
                  <a:pt x="10" y="3"/>
                  <a:pt x="10" y="3"/>
                </a:cubicBezTo>
                <a:cubicBezTo>
                  <a:pt x="8" y="6"/>
                  <a:pt x="8" y="6"/>
                  <a:pt x="8" y="6"/>
                </a:cubicBezTo>
                <a:cubicBezTo>
                  <a:pt x="4" y="6"/>
                  <a:pt x="4" y="6"/>
                  <a:pt x="4" y="6"/>
                </a:cubicBezTo>
                <a:cubicBezTo>
                  <a:pt x="0" y="9"/>
                  <a:pt x="0" y="9"/>
                  <a:pt x="0" y="9"/>
                </a:cubicBezTo>
                <a:cubicBezTo>
                  <a:pt x="2" y="12"/>
                  <a:pt x="2" y="12"/>
                  <a:pt x="2" y="12"/>
                </a:cubicBezTo>
                <a:cubicBezTo>
                  <a:pt x="4" y="17"/>
                  <a:pt x="4" y="17"/>
                  <a:pt x="4" y="17"/>
                </a:cubicBezTo>
                <a:cubicBezTo>
                  <a:pt x="6" y="20"/>
                  <a:pt x="6" y="20"/>
                  <a:pt x="6" y="20"/>
                </a:cubicBezTo>
                <a:cubicBezTo>
                  <a:pt x="15" y="21"/>
                  <a:pt x="15" y="21"/>
                  <a:pt x="15" y="21"/>
                </a:cubicBezTo>
                <a:cubicBezTo>
                  <a:pt x="16" y="21"/>
                  <a:pt x="16" y="21"/>
                  <a:pt x="16" y="21"/>
                </a:cubicBezTo>
                <a:cubicBezTo>
                  <a:pt x="23" y="23"/>
                  <a:pt x="23" y="23"/>
                  <a:pt x="23" y="23"/>
                </a:cubicBezTo>
                <a:cubicBezTo>
                  <a:pt x="27" y="21"/>
                  <a:pt x="27" y="21"/>
                  <a:pt x="27" y="21"/>
                </a:cubicBezTo>
                <a:cubicBezTo>
                  <a:pt x="31" y="23"/>
                  <a:pt x="31" y="23"/>
                  <a:pt x="31" y="23"/>
                </a:cubicBezTo>
                <a:cubicBezTo>
                  <a:pt x="31" y="23"/>
                  <a:pt x="31" y="23"/>
                  <a:pt x="31" y="23"/>
                </a:cubicBezTo>
                <a:cubicBezTo>
                  <a:pt x="31" y="23"/>
                  <a:pt x="31" y="23"/>
                  <a:pt x="31" y="23"/>
                </a:cubicBezTo>
                <a:lnTo>
                  <a:pt x="34" y="20"/>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56" name="Freeform 1325"/>
          <p:cNvSpPr>
            <a:spLocks/>
          </p:cNvSpPr>
          <p:nvPr/>
        </p:nvSpPr>
        <p:spPr bwMode="auto">
          <a:xfrm>
            <a:off x="5312792" y="3538687"/>
            <a:ext cx="180975" cy="109537"/>
          </a:xfrm>
          <a:custGeom>
            <a:avLst/>
            <a:gdLst/>
            <a:ahLst/>
            <a:cxnLst>
              <a:cxn ang="0">
                <a:pos x="25" y="114"/>
              </a:cxn>
              <a:cxn ang="0">
                <a:pos x="61" y="96"/>
              </a:cxn>
              <a:cxn ang="0">
                <a:pos x="73" y="90"/>
              </a:cxn>
              <a:cxn ang="0">
                <a:pos x="115" y="66"/>
              </a:cxn>
              <a:cxn ang="0">
                <a:pos x="127" y="24"/>
              </a:cxn>
              <a:cxn ang="0">
                <a:pos x="139" y="6"/>
              </a:cxn>
              <a:cxn ang="0">
                <a:pos x="139" y="0"/>
              </a:cxn>
              <a:cxn ang="0">
                <a:pos x="115" y="6"/>
              </a:cxn>
              <a:cxn ang="0">
                <a:pos x="49" y="12"/>
              </a:cxn>
              <a:cxn ang="0">
                <a:pos x="37" y="6"/>
              </a:cxn>
              <a:cxn ang="0">
                <a:pos x="19" y="24"/>
              </a:cxn>
              <a:cxn ang="0">
                <a:pos x="19" y="24"/>
              </a:cxn>
              <a:cxn ang="0">
                <a:pos x="25" y="48"/>
              </a:cxn>
              <a:cxn ang="0">
                <a:pos x="0" y="102"/>
              </a:cxn>
              <a:cxn ang="0">
                <a:pos x="13" y="102"/>
              </a:cxn>
              <a:cxn ang="0">
                <a:pos x="25" y="114"/>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19" y="24"/>
                </a:lnTo>
                <a:lnTo>
                  <a:pt x="25" y="48"/>
                </a:lnTo>
                <a:lnTo>
                  <a:pt x="0" y="102"/>
                </a:lnTo>
                <a:lnTo>
                  <a:pt x="13" y="102"/>
                </a:lnTo>
                <a:lnTo>
                  <a:pt x="25" y="114"/>
                </a:lnTo>
                <a:close/>
              </a:path>
            </a:pathLst>
          </a:custGeom>
          <a:solidFill>
            <a:schemeClr val="bg1">
              <a:lumMod val="65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257" name="Freeform 1326"/>
          <p:cNvSpPr>
            <a:spLocks/>
          </p:cNvSpPr>
          <p:nvPr/>
        </p:nvSpPr>
        <p:spPr bwMode="auto">
          <a:xfrm>
            <a:off x="5288979" y="3625999"/>
            <a:ext cx="127000" cy="87313"/>
          </a:xfrm>
          <a:custGeom>
            <a:avLst/>
            <a:gdLst>
              <a:gd name="T0" fmla="*/ 119144 w 97"/>
              <a:gd name="T1" fmla="*/ 23283 h 90"/>
              <a:gd name="T2" fmla="*/ 119144 w 97"/>
              <a:gd name="T3" fmla="*/ 0 h 90"/>
              <a:gd name="T4" fmla="*/ 103433 w 97"/>
              <a:gd name="T5" fmla="*/ 5821 h 90"/>
              <a:gd name="T6" fmla="*/ 56299 w 97"/>
              <a:gd name="T7" fmla="*/ 23283 h 90"/>
              <a:gd name="T8" fmla="*/ 40588 w 97"/>
              <a:gd name="T9" fmla="*/ 11642 h 90"/>
              <a:gd name="T10" fmla="*/ 23567 w 97"/>
              <a:gd name="T11" fmla="*/ 11642 h 90"/>
              <a:gd name="T12" fmla="*/ 15711 w 97"/>
              <a:gd name="T13" fmla="*/ 17463 h 90"/>
              <a:gd name="T14" fmla="*/ 0 w 97"/>
              <a:gd name="T15" fmla="*/ 40746 h 90"/>
              <a:gd name="T16" fmla="*/ 23567 w 97"/>
              <a:gd name="T17" fmla="*/ 87313 h 90"/>
              <a:gd name="T18" fmla="*/ 32732 w 97"/>
              <a:gd name="T19" fmla="*/ 87313 h 90"/>
              <a:gd name="T20" fmla="*/ 32732 w 97"/>
              <a:gd name="T21" fmla="*/ 87313 h 90"/>
              <a:gd name="T22" fmla="*/ 32732 w 97"/>
              <a:gd name="T23" fmla="*/ 87313 h 90"/>
              <a:gd name="T24" fmla="*/ 48443 w 97"/>
              <a:gd name="T25" fmla="*/ 87313 h 90"/>
              <a:gd name="T26" fmla="*/ 64155 w 97"/>
              <a:gd name="T27" fmla="*/ 75671 h 90"/>
              <a:gd name="T28" fmla="*/ 87722 w 97"/>
              <a:gd name="T29" fmla="*/ 75671 h 90"/>
              <a:gd name="T30" fmla="*/ 95577 w 97"/>
              <a:gd name="T31" fmla="*/ 64030 h 90"/>
              <a:gd name="T32" fmla="*/ 79866 w 97"/>
              <a:gd name="T33" fmla="*/ 34925 h 90"/>
              <a:gd name="T34" fmla="*/ 111289 w 97"/>
              <a:gd name="T35" fmla="*/ 29104 h 90"/>
              <a:gd name="T36" fmla="*/ 127000 w 97"/>
              <a:gd name="T37" fmla="*/ 23283 h 90"/>
              <a:gd name="T38" fmla="*/ 119144 w 97"/>
              <a:gd name="T39" fmla="*/ 23283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7"/>
              <a:gd name="T61" fmla="*/ 0 h 90"/>
              <a:gd name="T62" fmla="*/ 97 w 97"/>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58" name="Freeform 1327"/>
          <p:cNvSpPr>
            <a:spLocks/>
          </p:cNvSpPr>
          <p:nvPr/>
        </p:nvSpPr>
        <p:spPr bwMode="auto">
          <a:xfrm>
            <a:off x="5288979" y="3625999"/>
            <a:ext cx="127000" cy="87313"/>
          </a:xfrm>
          <a:custGeom>
            <a:avLst/>
            <a:gdLst/>
            <a:ahLst/>
            <a:cxnLst>
              <a:cxn ang="0">
                <a:pos x="91" y="24"/>
              </a:cxn>
              <a:cxn ang="0">
                <a:pos x="91" y="0"/>
              </a:cxn>
              <a:cxn ang="0">
                <a:pos x="79" y="6"/>
              </a:cxn>
              <a:cxn ang="0">
                <a:pos x="43" y="24"/>
              </a:cxn>
              <a:cxn ang="0">
                <a:pos x="31" y="12"/>
              </a:cxn>
              <a:cxn ang="0">
                <a:pos x="18" y="12"/>
              </a:cxn>
              <a:cxn ang="0">
                <a:pos x="12" y="18"/>
              </a:cxn>
              <a:cxn ang="0">
                <a:pos x="0" y="42"/>
              </a:cxn>
              <a:cxn ang="0">
                <a:pos x="18" y="90"/>
              </a:cxn>
              <a:cxn ang="0">
                <a:pos x="25" y="90"/>
              </a:cxn>
              <a:cxn ang="0">
                <a:pos x="25" y="90"/>
              </a:cxn>
              <a:cxn ang="0">
                <a:pos x="25" y="90"/>
              </a:cxn>
              <a:cxn ang="0">
                <a:pos x="37" y="90"/>
              </a:cxn>
              <a:cxn ang="0">
                <a:pos x="49" y="78"/>
              </a:cxn>
              <a:cxn ang="0">
                <a:pos x="67" y="78"/>
              </a:cxn>
              <a:cxn ang="0">
                <a:pos x="73" y="66"/>
              </a:cxn>
              <a:cxn ang="0">
                <a:pos x="61" y="36"/>
              </a:cxn>
              <a:cxn ang="0">
                <a:pos x="85" y="30"/>
              </a:cxn>
              <a:cxn ang="0">
                <a:pos x="97" y="24"/>
              </a:cxn>
              <a:cxn ang="0">
                <a:pos x="91" y="24"/>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25" y="90"/>
                </a:lnTo>
                <a:lnTo>
                  <a:pt x="25" y="90"/>
                </a:lnTo>
                <a:lnTo>
                  <a:pt x="37" y="90"/>
                </a:lnTo>
                <a:lnTo>
                  <a:pt x="49" y="78"/>
                </a:lnTo>
                <a:lnTo>
                  <a:pt x="67" y="78"/>
                </a:lnTo>
                <a:lnTo>
                  <a:pt x="73" y="66"/>
                </a:lnTo>
                <a:lnTo>
                  <a:pt x="61" y="36"/>
                </a:lnTo>
                <a:lnTo>
                  <a:pt x="85" y="30"/>
                </a:lnTo>
                <a:lnTo>
                  <a:pt x="97" y="24"/>
                </a:lnTo>
                <a:lnTo>
                  <a:pt x="91" y="24"/>
                </a:lnTo>
              </a:path>
            </a:pathLst>
          </a:custGeom>
          <a:solidFill>
            <a:schemeClr val="bg1">
              <a:lumMod val="65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259" name="Freeform 1328"/>
          <p:cNvSpPr>
            <a:spLocks/>
          </p:cNvSpPr>
          <p:nvPr/>
        </p:nvSpPr>
        <p:spPr bwMode="auto">
          <a:xfrm>
            <a:off x="5728717" y="3789512"/>
            <a:ext cx="119062" cy="58737"/>
          </a:xfrm>
          <a:custGeom>
            <a:avLst/>
            <a:gdLst/>
            <a:ahLst/>
            <a:cxnLst>
              <a:cxn ang="0">
                <a:pos x="18" y="48"/>
              </a:cxn>
              <a:cxn ang="0">
                <a:pos x="66" y="60"/>
              </a:cxn>
              <a:cxn ang="0">
                <a:pos x="78" y="30"/>
              </a:cxn>
              <a:cxn ang="0">
                <a:pos x="90" y="24"/>
              </a:cxn>
              <a:cxn ang="0">
                <a:pos x="84" y="0"/>
              </a:cxn>
              <a:cxn ang="0">
                <a:pos x="30" y="18"/>
              </a:cxn>
              <a:cxn ang="0">
                <a:pos x="6" y="6"/>
              </a:cxn>
              <a:cxn ang="0">
                <a:pos x="0" y="24"/>
              </a:cxn>
              <a:cxn ang="0">
                <a:pos x="18" y="48"/>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solidFill>
            <a:schemeClr val="bg1">
              <a:lumMod val="65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260" name="Freeform 1329"/>
          <p:cNvSpPr>
            <a:spLocks/>
          </p:cNvSpPr>
          <p:nvPr/>
        </p:nvSpPr>
        <p:spPr bwMode="auto">
          <a:xfrm>
            <a:off x="5746179" y="3811737"/>
            <a:ext cx="187325" cy="163512"/>
          </a:xfrm>
          <a:custGeom>
            <a:avLst/>
            <a:gdLst/>
            <a:ahLst/>
            <a:cxnLst>
              <a:cxn ang="0">
                <a:pos x="9" y="6"/>
              </a:cxn>
              <a:cxn ang="0">
                <a:pos x="10" y="6"/>
              </a:cxn>
              <a:cxn ang="0">
                <a:pos x="9" y="13"/>
              </a:cxn>
              <a:cxn ang="0">
                <a:pos x="4" y="17"/>
              </a:cxn>
              <a:cxn ang="0">
                <a:pos x="0" y="18"/>
              </a:cxn>
              <a:cxn ang="0">
                <a:pos x="1" y="21"/>
              </a:cxn>
              <a:cxn ang="0">
                <a:pos x="4" y="28"/>
              </a:cxn>
              <a:cxn ang="0">
                <a:pos x="11" y="23"/>
              </a:cxn>
              <a:cxn ang="0">
                <a:pos x="17" y="15"/>
              </a:cxn>
              <a:cxn ang="0">
                <a:pos x="20" y="11"/>
              </a:cxn>
              <a:cxn ang="0">
                <a:pos x="24" y="7"/>
              </a:cxn>
              <a:cxn ang="0">
                <a:pos x="16" y="1"/>
              </a:cxn>
              <a:cxn ang="0">
                <a:pos x="13" y="0"/>
              </a:cxn>
              <a:cxn ang="0">
                <a:pos x="13" y="0"/>
              </a:cxn>
              <a:cxn ang="0">
                <a:pos x="11" y="1"/>
              </a:cxn>
              <a:cxn ang="0">
                <a:pos x="9" y="6"/>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solidFill>
            <a:schemeClr val="bg1">
              <a:lumMod val="65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261" name="Freeform 1330"/>
          <p:cNvSpPr>
            <a:spLocks/>
          </p:cNvSpPr>
          <p:nvPr/>
        </p:nvSpPr>
        <p:spPr bwMode="auto">
          <a:xfrm>
            <a:off x="5511229" y="3916512"/>
            <a:ext cx="265113" cy="123825"/>
          </a:xfrm>
          <a:custGeom>
            <a:avLst/>
            <a:gdLst/>
            <a:ahLst/>
            <a:cxnLst>
              <a:cxn ang="0">
                <a:pos x="30" y="0"/>
              </a:cxn>
              <a:cxn ang="0">
                <a:pos x="18" y="4"/>
              </a:cxn>
              <a:cxn ang="0">
                <a:pos x="14" y="7"/>
              </a:cxn>
              <a:cxn ang="0">
                <a:pos x="3" y="7"/>
              </a:cxn>
              <a:cxn ang="0">
                <a:pos x="0" y="8"/>
              </a:cxn>
              <a:cxn ang="0">
                <a:pos x="1" y="12"/>
              </a:cxn>
              <a:cxn ang="0">
                <a:pos x="5" y="21"/>
              </a:cxn>
              <a:cxn ang="0">
                <a:pos x="12" y="19"/>
              </a:cxn>
              <a:cxn ang="0">
                <a:pos x="15" y="19"/>
              </a:cxn>
              <a:cxn ang="0">
                <a:pos x="19" y="15"/>
              </a:cxn>
              <a:cxn ang="0">
                <a:pos x="25" y="13"/>
              </a:cxn>
              <a:cxn ang="0">
                <a:pos x="34" y="10"/>
              </a:cxn>
              <a:cxn ang="0">
                <a:pos x="31" y="3"/>
              </a:cxn>
              <a:cxn ang="0">
                <a:pos x="30" y="0"/>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solidFill>
            <a:schemeClr val="bg1">
              <a:lumMod val="65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262" name="Freeform 1331"/>
          <p:cNvSpPr>
            <a:spLocks/>
          </p:cNvSpPr>
          <p:nvPr/>
        </p:nvSpPr>
        <p:spPr bwMode="auto">
          <a:xfrm>
            <a:off x="5323904" y="3648224"/>
            <a:ext cx="492125" cy="317500"/>
          </a:xfrm>
          <a:custGeom>
            <a:avLst/>
            <a:gdLst/>
            <a:ahLst/>
            <a:cxnLst>
              <a:cxn ang="0">
                <a:pos x="63" y="34"/>
              </a:cxn>
              <a:cxn ang="0">
                <a:pos x="55" y="32"/>
              </a:cxn>
              <a:cxn ang="0">
                <a:pos x="52" y="28"/>
              </a:cxn>
              <a:cxn ang="0">
                <a:pos x="53" y="25"/>
              </a:cxn>
              <a:cxn ang="0">
                <a:pos x="52" y="25"/>
              </a:cxn>
              <a:cxn ang="0">
                <a:pos x="48" y="23"/>
              </a:cxn>
              <a:cxn ang="0">
                <a:pos x="46" y="17"/>
              </a:cxn>
              <a:cxn ang="0">
                <a:pos x="42" y="13"/>
              </a:cxn>
              <a:cxn ang="0">
                <a:pos x="42" y="12"/>
              </a:cxn>
              <a:cxn ang="0">
                <a:pos x="39" y="12"/>
              </a:cxn>
              <a:cxn ang="0">
                <a:pos x="36" y="10"/>
              </a:cxn>
              <a:cxn ang="0">
                <a:pos x="28" y="9"/>
              </a:cxn>
              <a:cxn ang="0">
                <a:pos x="25" y="6"/>
              </a:cxn>
              <a:cxn ang="0">
                <a:pos x="15" y="1"/>
              </a:cxn>
              <a:cxn ang="0">
                <a:pos x="11" y="0"/>
              </a:cxn>
              <a:cxn ang="0">
                <a:pos x="12" y="0"/>
              </a:cxn>
              <a:cxn ang="0">
                <a:pos x="10" y="1"/>
              </a:cxn>
              <a:cxn ang="0">
                <a:pos x="6" y="2"/>
              </a:cxn>
              <a:cxn ang="0">
                <a:pos x="8" y="7"/>
              </a:cxn>
              <a:cxn ang="0">
                <a:pos x="7" y="9"/>
              </a:cxn>
              <a:cxn ang="0">
                <a:pos x="4" y="9"/>
              </a:cxn>
              <a:cxn ang="0">
                <a:pos x="2" y="11"/>
              </a:cxn>
              <a:cxn ang="0">
                <a:pos x="0" y="11"/>
              </a:cxn>
              <a:cxn ang="0">
                <a:pos x="2" y="15"/>
              </a:cxn>
              <a:cxn ang="0">
                <a:pos x="9" y="29"/>
              </a:cxn>
              <a:cxn ang="0">
                <a:pos x="13" y="33"/>
              </a:cxn>
              <a:cxn ang="0">
                <a:pos x="15" y="39"/>
              </a:cxn>
              <a:cxn ang="0">
                <a:pos x="17" y="46"/>
              </a:cxn>
              <a:cxn ang="0">
                <a:pos x="24" y="53"/>
              </a:cxn>
              <a:cxn ang="0">
                <a:pos x="24" y="54"/>
              </a:cxn>
              <a:cxn ang="0">
                <a:pos x="27" y="53"/>
              </a:cxn>
              <a:cxn ang="0">
                <a:pos x="38" y="53"/>
              </a:cxn>
              <a:cxn ang="0">
                <a:pos x="42" y="50"/>
              </a:cxn>
              <a:cxn ang="0">
                <a:pos x="54" y="46"/>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solidFill>
            <a:schemeClr val="bg1">
              <a:lumMod val="65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263" name="Freeform 1332"/>
          <p:cNvSpPr>
            <a:spLocks/>
          </p:cNvSpPr>
          <p:nvPr/>
        </p:nvSpPr>
        <p:spPr bwMode="auto">
          <a:xfrm>
            <a:off x="5746179" y="3848249"/>
            <a:ext cx="77788" cy="69850"/>
          </a:xfrm>
          <a:custGeom>
            <a:avLst/>
            <a:gdLst/>
            <a:ahLst/>
            <a:cxnLst>
              <a:cxn ang="0">
                <a:pos x="0" y="12"/>
              </a:cxn>
              <a:cxn ang="0">
                <a:pos x="4" y="11"/>
              </a:cxn>
              <a:cxn ang="0">
                <a:pos x="9" y="7"/>
              </a:cxn>
              <a:cxn ang="0">
                <a:pos x="10" y="0"/>
              </a:cxn>
              <a:cxn ang="0">
                <a:pos x="9" y="0"/>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solidFill>
            <a:schemeClr val="bg1">
              <a:lumMod val="65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264" name="Freeform 1333"/>
          <p:cNvSpPr>
            <a:spLocks/>
          </p:cNvSpPr>
          <p:nvPr/>
        </p:nvSpPr>
        <p:spPr bwMode="auto">
          <a:xfrm>
            <a:off x="5408042" y="3532337"/>
            <a:ext cx="249237" cy="187325"/>
          </a:xfrm>
          <a:custGeom>
            <a:avLst/>
            <a:gdLst/>
            <a:ahLst/>
            <a:cxnLst>
              <a:cxn ang="0">
                <a:pos x="168" y="120"/>
              </a:cxn>
              <a:cxn ang="0">
                <a:pos x="132" y="90"/>
              </a:cxn>
              <a:cxn ang="0">
                <a:pos x="132" y="66"/>
              </a:cxn>
              <a:cxn ang="0">
                <a:pos x="138" y="42"/>
              </a:cxn>
              <a:cxn ang="0">
                <a:pos x="114" y="6"/>
              </a:cxn>
              <a:cxn ang="0">
                <a:pos x="102" y="0"/>
              </a:cxn>
              <a:cxn ang="0">
                <a:pos x="72" y="6"/>
              </a:cxn>
              <a:cxn ang="0">
                <a:pos x="66" y="6"/>
              </a:cxn>
              <a:cxn ang="0">
                <a:pos x="66" y="12"/>
              </a:cxn>
              <a:cxn ang="0">
                <a:pos x="54" y="30"/>
              </a:cxn>
              <a:cxn ang="0">
                <a:pos x="42" y="72"/>
              </a:cxn>
              <a:cxn ang="0">
                <a:pos x="0" y="96"/>
              </a:cxn>
              <a:cxn ang="0">
                <a:pos x="0" y="120"/>
              </a:cxn>
              <a:cxn ang="0">
                <a:pos x="24" y="126"/>
              </a:cxn>
              <a:cxn ang="0">
                <a:pos x="84" y="156"/>
              </a:cxn>
              <a:cxn ang="0">
                <a:pos x="102" y="174"/>
              </a:cxn>
              <a:cxn ang="0">
                <a:pos x="150" y="180"/>
              </a:cxn>
              <a:cxn ang="0">
                <a:pos x="168" y="192"/>
              </a:cxn>
              <a:cxn ang="0">
                <a:pos x="186" y="192"/>
              </a:cxn>
              <a:cxn ang="0">
                <a:pos x="180" y="180"/>
              </a:cxn>
              <a:cxn ang="0">
                <a:pos x="192" y="174"/>
              </a:cxn>
              <a:cxn ang="0">
                <a:pos x="180" y="150"/>
              </a:cxn>
              <a:cxn ang="0">
                <a:pos x="168" y="120"/>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solidFill>
            <a:schemeClr val="bg1">
              <a:lumMod val="65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265" name="Freeform 1334"/>
          <p:cNvSpPr>
            <a:spLocks/>
          </p:cNvSpPr>
          <p:nvPr/>
        </p:nvSpPr>
        <p:spPr bwMode="auto">
          <a:xfrm>
            <a:off x="5550917" y="3479949"/>
            <a:ext cx="469900" cy="320675"/>
          </a:xfrm>
          <a:custGeom>
            <a:avLst/>
            <a:gdLst>
              <a:gd name="T0" fmla="*/ 415078 w 60"/>
              <a:gd name="T1" fmla="*/ 221557 h 55"/>
              <a:gd name="T2" fmla="*/ 415078 w 60"/>
              <a:gd name="T3" fmla="*/ 221557 h 55"/>
              <a:gd name="T4" fmla="*/ 430742 w 60"/>
              <a:gd name="T5" fmla="*/ 186575 h 55"/>
              <a:gd name="T6" fmla="*/ 399415 w 60"/>
              <a:gd name="T7" fmla="*/ 174914 h 55"/>
              <a:gd name="T8" fmla="*/ 399415 w 60"/>
              <a:gd name="T9" fmla="*/ 145761 h 55"/>
              <a:gd name="T10" fmla="*/ 407247 w 60"/>
              <a:gd name="T11" fmla="*/ 122440 h 55"/>
              <a:gd name="T12" fmla="*/ 415078 w 60"/>
              <a:gd name="T13" fmla="*/ 69965 h 55"/>
              <a:gd name="T14" fmla="*/ 383752 w 60"/>
              <a:gd name="T15" fmla="*/ 64135 h 55"/>
              <a:gd name="T16" fmla="*/ 352425 w 60"/>
              <a:gd name="T17" fmla="*/ 46644 h 55"/>
              <a:gd name="T18" fmla="*/ 313267 w 60"/>
              <a:gd name="T19" fmla="*/ 29152 h 55"/>
              <a:gd name="T20" fmla="*/ 281940 w 60"/>
              <a:gd name="T21" fmla="*/ 34983 h 55"/>
              <a:gd name="T22" fmla="*/ 242782 w 60"/>
              <a:gd name="T23" fmla="*/ 46644 h 55"/>
              <a:gd name="T24" fmla="*/ 234950 w 60"/>
              <a:gd name="T25" fmla="*/ 58305 h 55"/>
              <a:gd name="T26" fmla="*/ 203623 w 60"/>
              <a:gd name="T27" fmla="*/ 64135 h 55"/>
              <a:gd name="T28" fmla="*/ 172297 w 60"/>
              <a:gd name="T29" fmla="*/ 64135 h 55"/>
              <a:gd name="T30" fmla="*/ 148802 w 60"/>
              <a:gd name="T31" fmla="*/ 52474 h 55"/>
              <a:gd name="T32" fmla="*/ 117475 w 60"/>
              <a:gd name="T33" fmla="*/ 52474 h 55"/>
              <a:gd name="T34" fmla="*/ 117475 w 60"/>
              <a:gd name="T35" fmla="*/ 34983 h 55"/>
              <a:gd name="T36" fmla="*/ 93980 w 60"/>
              <a:gd name="T37" fmla="*/ 23322 h 55"/>
              <a:gd name="T38" fmla="*/ 93980 w 60"/>
              <a:gd name="T39" fmla="*/ 11661 h 55"/>
              <a:gd name="T40" fmla="*/ 78317 w 60"/>
              <a:gd name="T41" fmla="*/ 0 h 55"/>
              <a:gd name="T42" fmla="*/ 46990 w 60"/>
              <a:gd name="T43" fmla="*/ 17491 h 55"/>
              <a:gd name="T44" fmla="*/ 23495 w 60"/>
              <a:gd name="T45" fmla="*/ 11661 h 55"/>
              <a:gd name="T46" fmla="*/ 0 w 60"/>
              <a:gd name="T47" fmla="*/ 0 h 55"/>
              <a:gd name="T48" fmla="*/ 0 w 60"/>
              <a:gd name="T49" fmla="*/ 0 h 55"/>
              <a:gd name="T50" fmla="*/ 0 w 60"/>
              <a:gd name="T51" fmla="*/ 40813 h 55"/>
              <a:gd name="T52" fmla="*/ 7832 w 60"/>
              <a:gd name="T53" fmla="*/ 58305 h 55"/>
              <a:gd name="T54" fmla="*/ 7832 w 60"/>
              <a:gd name="T55" fmla="*/ 58305 h 55"/>
              <a:gd name="T56" fmla="*/ 39158 w 60"/>
              <a:gd name="T57" fmla="*/ 93287 h 55"/>
              <a:gd name="T58" fmla="*/ 31327 w 60"/>
              <a:gd name="T59" fmla="*/ 116609 h 55"/>
              <a:gd name="T60" fmla="*/ 31327 w 60"/>
              <a:gd name="T61" fmla="*/ 139931 h 55"/>
              <a:gd name="T62" fmla="*/ 78317 w 60"/>
              <a:gd name="T63" fmla="*/ 169083 h 55"/>
              <a:gd name="T64" fmla="*/ 93980 w 60"/>
              <a:gd name="T65" fmla="*/ 198235 h 55"/>
              <a:gd name="T66" fmla="*/ 109643 w 60"/>
              <a:gd name="T67" fmla="*/ 221557 h 55"/>
              <a:gd name="T68" fmla="*/ 117475 w 60"/>
              <a:gd name="T69" fmla="*/ 209896 h 55"/>
              <a:gd name="T70" fmla="*/ 148802 w 60"/>
              <a:gd name="T71" fmla="*/ 227388 h 55"/>
              <a:gd name="T72" fmla="*/ 180128 w 60"/>
              <a:gd name="T73" fmla="*/ 256540 h 55"/>
              <a:gd name="T74" fmla="*/ 219287 w 60"/>
              <a:gd name="T75" fmla="*/ 279862 h 55"/>
              <a:gd name="T76" fmla="*/ 266277 w 60"/>
              <a:gd name="T77" fmla="*/ 285692 h 55"/>
              <a:gd name="T78" fmla="*/ 305435 w 60"/>
              <a:gd name="T79" fmla="*/ 279862 h 55"/>
              <a:gd name="T80" fmla="*/ 328930 w 60"/>
              <a:gd name="T81" fmla="*/ 303184 h 55"/>
              <a:gd name="T82" fmla="*/ 415078 w 60"/>
              <a:gd name="T83" fmla="*/ 320675 h 55"/>
              <a:gd name="T84" fmla="*/ 430742 w 60"/>
              <a:gd name="T85" fmla="*/ 320675 h 55"/>
              <a:gd name="T86" fmla="*/ 430742 w 60"/>
              <a:gd name="T87" fmla="*/ 297353 h 55"/>
              <a:gd name="T88" fmla="*/ 469900 w 60"/>
              <a:gd name="T89" fmla="*/ 285692 h 55"/>
              <a:gd name="T90" fmla="*/ 462068 w 60"/>
              <a:gd name="T91" fmla="*/ 268201 h 55"/>
              <a:gd name="T92" fmla="*/ 454237 w 60"/>
              <a:gd name="T93" fmla="*/ 256540 h 55"/>
              <a:gd name="T94" fmla="*/ 422910 w 60"/>
              <a:gd name="T95" fmla="*/ 233218 h 55"/>
              <a:gd name="T96" fmla="*/ 415078 w 60"/>
              <a:gd name="T97" fmla="*/ 221557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0"/>
              <a:gd name="T148" fmla="*/ 0 h 55"/>
              <a:gd name="T149" fmla="*/ 60 w 60"/>
              <a:gd name="T150" fmla="*/ 55 h 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66" name="Freeform 1335"/>
          <p:cNvSpPr>
            <a:spLocks/>
          </p:cNvSpPr>
          <p:nvPr/>
        </p:nvSpPr>
        <p:spPr bwMode="auto">
          <a:xfrm>
            <a:off x="5965254" y="3545037"/>
            <a:ext cx="407988" cy="285750"/>
          </a:xfrm>
          <a:custGeom>
            <a:avLst/>
            <a:gdLst>
              <a:gd name="T0" fmla="*/ 219686 w 52"/>
              <a:gd name="T1" fmla="*/ 274087 h 49"/>
              <a:gd name="T2" fmla="*/ 251070 w 52"/>
              <a:gd name="T3" fmla="*/ 262423 h 49"/>
              <a:gd name="T4" fmla="*/ 227532 w 52"/>
              <a:gd name="T5" fmla="*/ 239097 h 49"/>
              <a:gd name="T6" fmla="*/ 211840 w 52"/>
              <a:gd name="T7" fmla="*/ 215770 h 49"/>
              <a:gd name="T8" fmla="*/ 235378 w 52"/>
              <a:gd name="T9" fmla="*/ 198276 h 49"/>
              <a:gd name="T10" fmla="*/ 266761 w 52"/>
              <a:gd name="T11" fmla="*/ 198276 h 49"/>
              <a:gd name="T12" fmla="*/ 313837 w 52"/>
              <a:gd name="T13" fmla="*/ 145791 h 49"/>
              <a:gd name="T14" fmla="*/ 329529 w 52"/>
              <a:gd name="T15" fmla="*/ 122464 h 49"/>
              <a:gd name="T16" fmla="*/ 345221 w 52"/>
              <a:gd name="T17" fmla="*/ 93306 h 49"/>
              <a:gd name="T18" fmla="*/ 321683 w 52"/>
              <a:gd name="T19" fmla="*/ 81643 h 49"/>
              <a:gd name="T20" fmla="*/ 321683 w 52"/>
              <a:gd name="T21" fmla="*/ 52485 h 49"/>
              <a:gd name="T22" fmla="*/ 407988 w 52"/>
              <a:gd name="T23" fmla="*/ 40821 h 49"/>
              <a:gd name="T24" fmla="*/ 400142 w 52"/>
              <a:gd name="T25" fmla="*/ 34990 h 49"/>
              <a:gd name="T26" fmla="*/ 368758 w 52"/>
              <a:gd name="T27" fmla="*/ 5832 h 49"/>
              <a:gd name="T28" fmla="*/ 345221 w 52"/>
              <a:gd name="T29" fmla="*/ 0 h 49"/>
              <a:gd name="T30" fmla="*/ 290299 w 52"/>
              <a:gd name="T31" fmla="*/ 5832 h 49"/>
              <a:gd name="T32" fmla="*/ 251070 w 52"/>
              <a:gd name="T33" fmla="*/ 17495 h 49"/>
              <a:gd name="T34" fmla="*/ 251070 w 52"/>
              <a:gd name="T35" fmla="*/ 34990 h 49"/>
              <a:gd name="T36" fmla="*/ 235378 w 52"/>
              <a:gd name="T37" fmla="*/ 64148 h 49"/>
              <a:gd name="T38" fmla="*/ 219686 w 52"/>
              <a:gd name="T39" fmla="*/ 69980 h 49"/>
              <a:gd name="T40" fmla="*/ 219686 w 52"/>
              <a:gd name="T41" fmla="*/ 81643 h 49"/>
              <a:gd name="T42" fmla="*/ 211840 w 52"/>
              <a:gd name="T43" fmla="*/ 87474 h 49"/>
              <a:gd name="T44" fmla="*/ 203994 w 52"/>
              <a:gd name="T45" fmla="*/ 110801 h 49"/>
              <a:gd name="T46" fmla="*/ 156918 w 52"/>
              <a:gd name="T47" fmla="*/ 122464 h 49"/>
              <a:gd name="T48" fmla="*/ 133381 w 52"/>
              <a:gd name="T49" fmla="*/ 134128 h 49"/>
              <a:gd name="T50" fmla="*/ 109843 w 52"/>
              <a:gd name="T51" fmla="*/ 163286 h 49"/>
              <a:gd name="T52" fmla="*/ 62767 w 52"/>
              <a:gd name="T53" fmla="*/ 163286 h 49"/>
              <a:gd name="T54" fmla="*/ 31384 w 52"/>
              <a:gd name="T55" fmla="*/ 157454 h 49"/>
              <a:gd name="T56" fmla="*/ 0 w 52"/>
              <a:gd name="T57" fmla="*/ 157454 h 49"/>
              <a:gd name="T58" fmla="*/ 7846 w 52"/>
              <a:gd name="T59" fmla="*/ 169117 h 49"/>
              <a:gd name="T60" fmla="*/ 39230 w 52"/>
              <a:gd name="T61" fmla="*/ 192444 h 49"/>
              <a:gd name="T62" fmla="*/ 47076 w 52"/>
              <a:gd name="T63" fmla="*/ 204107 h 49"/>
              <a:gd name="T64" fmla="*/ 54921 w 52"/>
              <a:gd name="T65" fmla="*/ 221602 h 49"/>
              <a:gd name="T66" fmla="*/ 15692 w 52"/>
              <a:gd name="T67" fmla="*/ 233265 h 49"/>
              <a:gd name="T68" fmla="*/ 15692 w 52"/>
              <a:gd name="T69" fmla="*/ 256592 h 49"/>
              <a:gd name="T70" fmla="*/ 54921 w 52"/>
              <a:gd name="T71" fmla="*/ 250760 h 49"/>
              <a:gd name="T72" fmla="*/ 141227 w 52"/>
              <a:gd name="T73" fmla="*/ 250760 h 49"/>
              <a:gd name="T74" fmla="*/ 172610 w 52"/>
              <a:gd name="T75" fmla="*/ 285750 h 49"/>
              <a:gd name="T76" fmla="*/ 188302 w 52"/>
              <a:gd name="T77" fmla="*/ 279918 h 49"/>
              <a:gd name="T78" fmla="*/ 219686 w 52"/>
              <a:gd name="T79" fmla="*/ 274087 h 4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2"/>
              <a:gd name="T121" fmla="*/ 0 h 49"/>
              <a:gd name="T122" fmla="*/ 52 w 52"/>
              <a:gd name="T123" fmla="*/ 49 h 4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2" h="49">
                <a:moveTo>
                  <a:pt x="28" y="47"/>
                </a:moveTo>
                <a:cubicBezTo>
                  <a:pt x="32" y="45"/>
                  <a:pt x="32" y="45"/>
                  <a:pt x="32" y="45"/>
                </a:cubicBezTo>
                <a:cubicBezTo>
                  <a:pt x="29" y="41"/>
                  <a:pt x="29" y="41"/>
                  <a:pt x="29" y="41"/>
                </a:cubicBezTo>
                <a:cubicBezTo>
                  <a:pt x="27" y="37"/>
                  <a:pt x="27" y="37"/>
                  <a:pt x="27" y="37"/>
                </a:cubicBezTo>
                <a:cubicBezTo>
                  <a:pt x="30" y="34"/>
                  <a:pt x="30" y="34"/>
                  <a:pt x="30" y="34"/>
                </a:cubicBezTo>
                <a:cubicBezTo>
                  <a:pt x="34" y="34"/>
                  <a:pt x="34" y="34"/>
                  <a:pt x="34" y="34"/>
                </a:cubicBezTo>
                <a:cubicBezTo>
                  <a:pt x="40" y="25"/>
                  <a:pt x="40" y="25"/>
                  <a:pt x="40" y="25"/>
                </a:cubicBezTo>
                <a:cubicBezTo>
                  <a:pt x="42" y="21"/>
                  <a:pt x="42" y="21"/>
                  <a:pt x="42" y="21"/>
                </a:cubicBezTo>
                <a:cubicBezTo>
                  <a:pt x="44" y="16"/>
                  <a:pt x="44" y="16"/>
                  <a:pt x="44" y="16"/>
                </a:cubicBezTo>
                <a:cubicBezTo>
                  <a:pt x="41" y="14"/>
                  <a:pt x="41" y="14"/>
                  <a:pt x="41" y="14"/>
                </a:cubicBezTo>
                <a:cubicBezTo>
                  <a:pt x="41" y="9"/>
                  <a:pt x="41" y="9"/>
                  <a:pt x="41" y="9"/>
                </a:cubicBezTo>
                <a:cubicBezTo>
                  <a:pt x="52" y="7"/>
                  <a:pt x="52" y="7"/>
                  <a:pt x="52" y="7"/>
                </a:cubicBezTo>
                <a:cubicBezTo>
                  <a:pt x="51" y="6"/>
                  <a:pt x="51" y="6"/>
                  <a:pt x="51" y="6"/>
                </a:cubicBezTo>
                <a:cubicBezTo>
                  <a:pt x="47" y="1"/>
                  <a:pt x="47" y="1"/>
                  <a:pt x="47" y="1"/>
                </a:cubicBezTo>
                <a:cubicBezTo>
                  <a:pt x="44" y="0"/>
                  <a:pt x="44" y="0"/>
                  <a:pt x="44" y="0"/>
                </a:cubicBezTo>
                <a:cubicBezTo>
                  <a:pt x="37" y="1"/>
                  <a:pt x="37" y="1"/>
                  <a:pt x="37" y="1"/>
                </a:cubicBezTo>
                <a:cubicBezTo>
                  <a:pt x="32" y="3"/>
                  <a:pt x="32" y="3"/>
                  <a:pt x="32" y="3"/>
                </a:cubicBezTo>
                <a:cubicBezTo>
                  <a:pt x="32" y="6"/>
                  <a:pt x="32" y="6"/>
                  <a:pt x="32" y="6"/>
                </a:cubicBezTo>
                <a:cubicBezTo>
                  <a:pt x="32" y="6"/>
                  <a:pt x="31" y="11"/>
                  <a:pt x="30" y="11"/>
                </a:cubicBezTo>
                <a:cubicBezTo>
                  <a:pt x="30" y="11"/>
                  <a:pt x="28" y="12"/>
                  <a:pt x="28" y="12"/>
                </a:cubicBezTo>
                <a:cubicBezTo>
                  <a:pt x="28" y="14"/>
                  <a:pt x="28" y="14"/>
                  <a:pt x="28" y="14"/>
                </a:cubicBezTo>
                <a:cubicBezTo>
                  <a:pt x="27" y="15"/>
                  <a:pt x="27" y="15"/>
                  <a:pt x="27" y="15"/>
                </a:cubicBezTo>
                <a:cubicBezTo>
                  <a:pt x="26" y="19"/>
                  <a:pt x="26" y="19"/>
                  <a:pt x="26" y="19"/>
                </a:cubicBezTo>
                <a:cubicBezTo>
                  <a:pt x="26" y="19"/>
                  <a:pt x="21" y="21"/>
                  <a:pt x="20" y="21"/>
                </a:cubicBezTo>
                <a:cubicBezTo>
                  <a:pt x="20" y="21"/>
                  <a:pt x="17" y="23"/>
                  <a:pt x="17" y="23"/>
                </a:cubicBezTo>
                <a:cubicBezTo>
                  <a:pt x="14" y="28"/>
                  <a:pt x="14" y="28"/>
                  <a:pt x="14" y="28"/>
                </a:cubicBezTo>
                <a:cubicBezTo>
                  <a:pt x="14" y="28"/>
                  <a:pt x="9" y="28"/>
                  <a:pt x="8" y="28"/>
                </a:cubicBezTo>
                <a:cubicBezTo>
                  <a:pt x="7" y="28"/>
                  <a:pt x="4" y="27"/>
                  <a:pt x="4" y="27"/>
                </a:cubicBezTo>
                <a:cubicBezTo>
                  <a:pt x="0" y="27"/>
                  <a:pt x="0" y="27"/>
                  <a:pt x="0" y="27"/>
                </a:cubicBezTo>
                <a:cubicBezTo>
                  <a:pt x="1" y="29"/>
                  <a:pt x="1" y="29"/>
                  <a:pt x="1" y="29"/>
                </a:cubicBezTo>
                <a:cubicBezTo>
                  <a:pt x="5" y="33"/>
                  <a:pt x="5" y="33"/>
                  <a:pt x="5" y="33"/>
                </a:cubicBezTo>
                <a:cubicBezTo>
                  <a:pt x="6" y="35"/>
                  <a:pt x="6" y="35"/>
                  <a:pt x="6" y="35"/>
                </a:cubicBezTo>
                <a:cubicBezTo>
                  <a:pt x="7" y="38"/>
                  <a:pt x="7" y="38"/>
                  <a:pt x="7" y="38"/>
                </a:cubicBezTo>
                <a:cubicBezTo>
                  <a:pt x="2" y="40"/>
                  <a:pt x="2" y="40"/>
                  <a:pt x="2" y="40"/>
                </a:cubicBezTo>
                <a:cubicBezTo>
                  <a:pt x="2" y="44"/>
                  <a:pt x="2" y="44"/>
                  <a:pt x="2" y="44"/>
                </a:cubicBezTo>
                <a:cubicBezTo>
                  <a:pt x="7" y="43"/>
                  <a:pt x="7" y="43"/>
                  <a:pt x="7" y="43"/>
                </a:cubicBezTo>
                <a:cubicBezTo>
                  <a:pt x="18" y="43"/>
                  <a:pt x="18" y="43"/>
                  <a:pt x="18" y="43"/>
                </a:cubicBezTo>
                <a:cubicBezTo>
                  <a:pt x="22" y="49"/>
                  <a:pt x="22" y="49"/>
                  <a:pt x="22" y="49"/>
                </a:cubicBezTo>
                <a:cubicBezTo>
                  <a:pt x="24" y="48"/>
                  <a:pt x="24" y="48"/>
                  <a:pt x="24" y="48"/>
                </a:cubicBezTo>
                <a:lnTo>
                  <a:pt x="28" y="47"/>
                </a:lnTo>
                <a:close/>
              </a:path>
            </a:pathLst>
          </a:custGeom>
          <a:solidFill>
            <a:srgbClr val="7030A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67" name="Freeform 1336"/>
          <p:cNvSpPr>
            <a:spLocks/>
          </p:cNvSpPr>
          <p:nvPr/>
        </p:nvSpPr>
        <p:spPr bwMode="auto">
          <a:xfrm>
            <a:off x="6136704" y="3573612"/>
            <a:ext cx="723900" cy="557212"/>
          </a:xfrm>
          <a:custGeom>
            <a:avLst/>
            <a:gdLst>
              <a:gd name="T0" fmla="*/ 668920 w 553"/>
              <a:gd name="T1" fmla="*/ 228350 h 571"/>
              <a:gd name="T2" fmla="*/ 716046 w 553"/>
              <a:gd name="T3" fmla="*/ 175654 h 571"/>
              <a:gd name="T4" fmla="*/ 723900 w 553"/>
              <a:gd name="T5" fmla="*/ 163943 h 571"/>
              <a:gd name="T6" fmla="*/ 653212 w 553"/>
              <a:gd name="T7" fmla="*/ 146378 h 571"/>
              <a:gd name="T8" fmla="*/ 596923 w 553"/>
              <a:gd name="T9" fmla="*/ 187364 h 571"/>
              <a:gd name="T10" fmla="*/ 534089 w 553"/>
              <a:gd name="T11" fmla="*/ 187364 h 571"/>
              <a:gd name="T12" fmla="*/ 494818 w 553"/>
              <a:gd name="T13" fmla="*/ 175654 h 571"/>
              <a:gd name="T14" fmla="*/ 463401 w 553"/>
              <a:gd name="T15" fmla="*/ 193219 h 571"/>
              <a:gd name="T16" fmla="*/ 377004 w 553"/>
              <a:gd name="T17" fmla="*/ 181509 h 571"/>
              <a:gd name="T18" fmla="*/ 322024 w 553"/>
              <a:gd name="T19" fmla="*/ 117102 h 571"/>
              <a:gd name="T20" fmla="*/ 267044 w 553"/>
              <a:gd name="T21" fmla="*/ 81972 h 571"/>
              <a:gd name="T22" fmla="*/ 274899 w 553"/>
              <a:gd name="T23" fmla="*/ 46841 h 571"/>
              <a:gd name="T24" fmla="*/ 298461 w 553"/>
              <a:gd name="T25" fmla="*/ 0 h 571"/>
              <a:gd name="T26" fmla="*/ 219919 w 553"/>
              <a:gd name="T27" fmla="*/ 0 h 571"/>
              <a:gd name="T28" fmla="*/ 235627 w 553"/>
              <a:gd name="T29" fmla="*/ 11710 h 571"/>
              <a:gd name="T30" fmla="*/ 149231 w 553"/>
              <a:gd name="T31" fmla="*/ 52696 h 571"/>
              <a:gd name="T32" fmla="*/ 157085 w 553"/>
              <a:gd name="T33" fmla="*/ 93682 h 571"/>
              <a:gd name="T34" fmla="*/ 94251 w 553"/>
              <a:gd name="T35" fmla="*/ 169798 h 571"/>
              <a:gd name="T36" fmla="*/ 39271 w 553"/>
              <a:gd name="T37" fmla="*/ 187364 h 571"/>
              <a:gd name="T38" fmla="*/ 78542 w 553"/>
              <a:gd name="T39" fmla="*/ 234205 h 571"/>
              <a:gd name="T40" fmla="*/ 15708 w 553"/>
              <a:gd name="T41" fmla="*/ 251770 h 571"/>
              <a:gd name="T42" fmla="*/ 0 w 553"/>
              <a:gd name="T43" fmla="*/ 257625 h 571"/>
              <a:gd name="T44" fmla="*/ 54980 w 553"/>
              <a:gd name="T45" fmla="*/ 310321 h 571"/>
              <a:gd name="T46" fmla="*/ 117814 w 553"/>
              <a:gd name="T47" fmla="*/ 398148 h 571"/>
              <a:gd name="T48" fmla="*/ 180648 w 553"/>
              <a:gd name="T49" fmla="*/ 498661 h 571"/>
              <a:gd name="T50" fmla="*/ 227773 w 553"/>
              <a:gd name="T51" fmla="*/ 557212 h 571"/>
              <a:gd name="T52" fmla="*/ 282753 w 553"/>
              <a:gd name="T53" fmla="*/ 510371 h 571"/>
              <a:gd name="T54" fmla="*/ 298461 w 553"/>
              <a:gd name="T55" fmla="*/ 445965 h 571"/>
              <a:gd name="T56" fmla="*/ 361295 w 553"/>
              <a:gd name="T57" fmla="*/ 374727 h 571"/>
              <a:gd name="T58" fmla="*/ 447692 w 553"/>
              <a:gd name="T59" fmla="*/ 322031 h 571"/>
              <a:gd name="T60" fmla="*/ 510526 w 553"/>
              <a:gd name="T61" fmla="*/ 286901 h 571"/>
              <a:gd name="T62" fmla="*/ 486963 w 553"/>
              <a:gd name="T63" fmla="*/ 228350 h 571"/>
              <a:gd name="T64" fmla="*/ 502672 w 553"/>
              <a:gd name="T65" fmla="*/ 210784 h 571"/>
              <a:gd name="T66" fmla="*/ 549797 w 553"/>
              <a:gd name="T67" fmla="*/ 222494 h 571"/>
              <a:gd name="T68" fmla="*/ 589069 w 553"/>
              <a:gd name="T69" fmla="*/ 240060 h 571"/>
              <a:gd name="T70" fmla="*/ 604777 w 553"/>
              <a:gd name="T71" fmla="*/ 257625 h 571"/>
              <a:gd name="T72" fmla="*/ 604777 w 553"/>
              <a:gd name="T73" fmla="*/ 298611 h 571"/>
              <a:gd name="T74" fmla="*/ 645357 w 553"/>
              <a:gd name="T75" fmla="*/ 245915 h 5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53"/>
              <a:gd name="T115" fmla="*/ 0 h 571"/>
              <a:gd name="T116" fmla="*/ 553 w 553"/>
              <a:gd name="T117" fmla="*/ 571 h 5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53" h="571">
                <a:moveTo>
                  <a:pt x="493" y="252"/>
                </a:moveTo>
                <a:lnTo>
                  <a:pt x="511" y="234"/>
                </a:lnTo>
                <a:lnTo>
                  <a:pt x="523" y="198"/>
                </a:lnTo>
                <a:lnTo>
                  <a:pt x="547" y="180"/>
                </a:lnTo>
                <a:lnTo>
                  <a:pt x="553" y="168"/>
                </a:lnTo>
                <a:lnTo>
                  <a:pt x="529" y="150"/>
                </a:lnTo>
                <a:lnTo>
                  <a:pt x="499" y="150"/>
                </a:lnTo>
                <a:lnTo>
                  <a:pt x="474" y="168"/>
                </a:lnTo>
                <a:lnTo>
                  <a:pt x="456" y="192"/>
                </a:lnTo>
                <a:lnTo>
                  <a:pt x="432" y="192"/>
                </a:lnTo>
                <a:lnTo>
                  <a:pt x="408" y="192"/>
                </a:lnTo>
                <a:lnTo>
                  <a:pt x="390" y="180"/>
                </a:lnTo>
                <a:lnTo>
                  <a:pt x="378" y="180"/>
                </a:lnTo>
                <a:lnTo>
                  <a:pt x="366" y="198"/>
                </a:lnTo>
                <a:lnTo>
                  <a:pt x="354" y="198"/>
                </a:lnTo>
                <a:lnTo>
                  <a:pt x="330" y="192"/>
                </a:lnTo>
                <a:lnTo>
                  <a:pt x="288" y="186"/>
                </a:lnTo>
                <a:lnTo>
                  <a:pt x="228" y="156"/>
                </a:lnTo>
                <a:lnTo>
                  <a:pt x="246" y="120"/>
                </a:lnTo>
                <a:lnTo>
                  <a:pt x="216" y="108"/>
                </a:lnTo>
                <a:lnTo>
                  <a:pt x="204" y="84"/>
                </a:lnTo>
                <a:lnTo>
                  <a:pt x="216" y="66"/>
                </a:lnTo>
                <a:lnTo>
                  <a:pt x="210" y="48"/>
                </a:lnTo>
                <a:lnTo>
                  <a:pt x="234" y="12"/>
                </a:lnTo>
                <a:lnTo>
                  <a:pt x="228" y="0"/>
                </a:lnTo>
                <a:lnTo>
                  <a:pt x="192" y="0"/>
                </a:lnTo>
                <a:lnTo>
                  <a:pt x="168" y="0"/>
                </a:lnTo>
                <a:lnTo>
                  <a:pt x="174" y="6"/>
                </a:lnTo>
                <a:lnTo>
                  <a:pt x="180" y="12"/>
                </a:lnTo>
                <a:lnTo>
                  <a:pt x="114" y="24"/>
                </a:lnTo>
                <a:lnTo>
                  <a:pt x="114" y="54"/>
                </a:lnTo>
                <a:lnTo>
                  <a:pt x="132" y="66"/>
                </a:lnTo>
                <a:lnTo>
                  <a:pt x="120" y="96"/>
                </a:lnTo>
                <a:lnTo>
                  <a:pt x="108" y="120"/>
                </a:lnTo>
                <a:lnTo>
                  <a:pt x="72" y="174"/>
                </a:lnTo>
                <a:lnTo>
                  <a:pt x="48" y="174"/>
                </a:lnTo>
                <a:lnTo>
                  <a:pt x="30" y="192"/>
                </a:lnTo>
                <a:lnTo>
                  <a:pt x="42" y="216"/>
                </a:lnTo>
                <a:lnTo>
                  <a:pt x="60" y="240"/>
                </a:lnTo>
                <a:lnTo>
                  <a:pt x="36" y="252"/>
                </a:lnTo>
                <a:lnTo>
                  <a:pt x="12" y="258"/>
                </a:lnTo>
                <a:lnTo>
                  <a:pt x="0" y="264"/>
                </a:lnTo>
                <a:lnTo>
                  <a:pt x="24" y="294"/>
                </a:lnTo>
                <a:lnTo>
                  <a:pt x="42" y="318"/>
                </a:lnTo>
                <a:lnTo>
                  <a:pt x="78" y="294"/>
                </a:lnTo>
                <a:lnTo>
                  <a:pt x="90" y="408"/>
                </a:lnTo>
                <a:lnTo>
                  <a:pt x="108" y="457"/>
                </a:lnTo>
                <a:lnTo>
                  <a:pt x="138" y="511"/>
                </a:lnTo>
                <a:lnTo>
                  <a:pt x="156" y="541"/>
                </a:lnTo>
                <a:lnTo>
                  <a:pt x="174" y="571"/>
                </a:lnTo>
                <a:lnTo>
                  <a:pt x="192" y="553"/>
                </a:lnTo>
                <a:lnTo>
                  <a:pt x="216" y="523"/>
                </a:lnTo>
                <a:lnTo>
                  <a:pt x="222" y="499"/>
                </a:lnTo>
                <a:lnTo>
                  <a:pt x="228" y="457"/>
                </a:lnTo>
                <a:lnTo>
                  <a:pt x="234" y="420"/>
                </a:lnTo>
                <a:lnTo>
                  <a:pt x="276" y="384"/>
                </a:lnTo>
                <a:lnTo>
                  <a:pt x="318" y="354"/>
                </a:lnTo>
                <a:lnTo>
                  <a:pt x="342" y="330"/>
                </a:lnTo>
                <a:lnTo>
                  <a:pt x="360" y="300"/>
                </a:lnTo>
                <a:lnTo>
                  <a:pt x="390" y="294"/>
                </a:lnTo>
                <a:lnTo>
                  <a:pt x="378" y="246"/>
                </a:lnTo>
                <a:lnTo>
                  <a:pt x="372" y="234"/>
                </a:lnTo>
                <a:lnTo>
                  <a:pt x="378" y="228"/>
                </a:lnTo>
                <a:lnTo>
                  <a:pt x="384" y="216"/>
                </a:lnTo>
                <a:lnTo>
                  <a:pt x="402" y="216"/>
                </a:lnTo>
                <a:lnTo>
                  <a:pt x="420" y="228"/>
                </a:lnTo>
                <a:lnTo>
                  <a:pt x="456" y="234"/>
                </a:lnTo>
                <a:lnTo>
                  <a:pt x="450" y="246"/>
                </a:lnTo>
                <a:lnTo>
                  <a:pt x="444" y="258"/>
                </a:lnTo>
                <a:lnTo>
                  <a:pt x="462" y="264"/>
                </a:lnTo>
                <a:lnTo>
                  <a:pt x="456" y="288"/>
                </a:lnTo>
                <a:lnTo>
                  <a:pt x="462" y="306"/>
                </a:lnTo>
                <a:lnTo>
                  <a:pt x="474" y="282"/>
                </a:lnTo>
                <a:lnTo>
                  <a:pt x="493" y="252"/>
                </a:lnTo>
                <a:close/>
              </a:path>
            </a:pathLst>
          </a:custGeom>
          <a:solidFill>
            <a:srgbClr val="7030A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68" name="Freeform 1337"/>
          <p:cNvSpPr>
            <a:spLocks/>
          </p:cNvSpPr>
          <p:nvPr/>
        </p:nvSpPr>
        <p:spPr bwMode="auto">
          <a:xfrm>
            <a:off x="5950967" y="3510112"/>
            <a:ext cx="360362" cy="198437"/>
          </a:xfrm>
          <a:custGeom>
            <a:avLst/>
            <a:gdLst>
              <a:gd name="T0" fmla="*/ 329026 w 46"/>
              <a:gd name="T1" fmla="*/ 17509 h 34"/>
              <a:gd name="T2" fmla="*/ 297690 w 46"/>
              <a:gd name="T3" fmla="*/ 23346 h 34"/>
              <a:gd name="T4" fmla="*/ 274189 w 46"/>
              <a:gd name="T5" fmla="*/ 23346 h 34"/>
              <a:gd name="T6" fmla="*/ 266355 w 46"/>
              <a:gd name="T7" fmla="*/ 5836 h 34"/>
              <a:gd name="T8" fmla="*/ 258521 w 46"/>
              <a:gd name="T9" fmla="*/ 0 h 34"/>
              <a:gd name="T10" fmla="*/ 235019 w 46"/>
              <a:gd name="T11" fmla="*/ 17509 h 34"/>
              <a:gd name="T12" fmla="*/ 219351 w 46"/>
              <a:gd name="T13" fmla="*/ 29182 h 34"/>
              <a:gd name="T14" fmla="*/ 188015 w 46"/>
              <a:gd name="T15" fmla="*/ 35018 h 34"/>
              <a:gd name="T16" fmla="*/ 172347 w 46"/>
              <a:gd name="T17" fmla="*/ 23346 h 34"/>
              <a:gd name="T18" fmla="*/ 148845 w 46"/>
              <a:gd name="T19" fmla="*/ 23346 h 34"/>
              <a:gd name="T20" fmla="*/ 117509 w 46"/>
              <a:gd name="T21" fmla="*/ 17509 h 34"/>
              <a:gd name="T22" fmla="*/ 109675 w 46"/>
              <a:gd name="T23" fmla="*/ 46691 h 34"/>
              <a:gd name="T24" fmla="*/ 70506 w 46"/>
              <a:gd name="T25" fmla="*/ 58364 h 34"/>
              <a:gd name="T26" fmla="*/ 54838 w 46"/>
              <a:gd name="T27" fmla="*/ 70037 h 34"/>
              <a:gd name="T28" fmla="*/ 31336 w 46"/>
              <a:gd name="T29" fmla="*/ 64200 h 34"/>
              <a:gd name="T30" fmla="*/ 15668 w 46"/>
              <a:gd name="T31" fmla="*/ 58364 h 34"/>
              <a:gd name="T32" fmla="*/ 7834 w 46"/>
              <a:gd name="T33" fmla="*/ 93382 h 34"/>
              <a:gd name="T34" fmla="*/ 0 w 46"/>
              <a:gd name="T35" fmla="*/ 116728 h 34"/>
              <a:gd name="T36" fmla="*/ 0 w 46"/>
              <a:gd name="T37" fmla="*/ 145910 h 34"/>
              <a:gd name="T38" fmla="*/ 31336 w 46"/>
              <a:gd name="T39" fmla="*/ 157582 h 34"/>
              <a:gd name="T40" fmla="*/ 15668 w 46"/>
              <a:gd name="T41" fmla="*/ 192601 h 34"/>
              <a:gd name="T42" fmla="*/ 15668 w 46"/>
              <a:gd name="T43" fmla="*/ 192601 h 34"/>
              <a:gd name="T44" fmla="*/ 47004 w 46"/>
              <a:gd name="T45" fmla="*/ 192601 h 34"/>
              <a:gd name="T46" fmla="*/ 78340 w 46"/>
              <a:gd name="T47" fmla="*/ 198437 h 34"/>
              <a:gd name="T48" fmla="*/ 125343 w 46"/>
              <a:gd name="T49" fmla="*/ 198437 h 34"/>
              <a:gd name="T50" fmla="*/ 148845 w 46"/>
              <a:gd name="T51" fmla="*/ 169255 h 34"/>
              <a:gd name="T52" fmla="*/ 172347 w 46"/>
              <a:gd name="T53" fmla="*/ 157582 h 34"/>
              <a:gd name="T54" fmla="*/ 219351 w 46"/>
              <a:gd name="T55" fmla="*/ 145910 h 34"/>
              <a:gd name="T56" fmla="*/ 227185 w 46"/>
              <a:gd name="T57" fmla="*/ 122564 h 34"/>
              <a:gd name="T58" fmla="*/ 235019 w 46"/>
              <a:gd name="T59" fmla="*/ 116728 h 34"/>
              <a:gd name="T60" fmla="*/ 235019 w 46"/>
              <a:gd name="T61" fmla="*/ 105055 h 34"/>
              <a:gd name="T62" fmla="*/ 250687 w 46"/>
              <a:gd name="T63" fmla="*/ 99219 h 34"/>
              <a:gd name="T64" fmla="*/ 266355 w 46"/>
              <a:gd name="T65" fmla="*/ 70037 h 34"/>
              <a:gd name="T66" fmla="*/ 266355 w 46"/>
              <a:gd name="T67" fmla="*/ 52527 h 34"/>
              <a:gd name="T68" fmla="*/ 305524 w 46"/>
              <a:gd name="T69" fmla="*/ 40855 h 34"/>
              <a:gd name="T70" fmla="*/ 360362 w 46"/>
              <a:gd name="T71" fmla="*/ 35018 h 34"/>
              <a:gd name="T72" fmla="*/ 344694 w 46"/>
              <a:gd name="T73" fmla="*/ 17509 h 34"/>
              <a:gd name="T74" fmla="*/ 329026 w 46"/>
              <a:gd name="T75" fmla="*/ 17509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
              <a:gd name="T115" fmla="*/ 0 h 34"/>
              <a:gd name="T116" fmla="*/ 46 w 46"/>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 h="34">
                <a:moveTo>
                  <a:pt x="42" y="3"/>
                </a:moveTo>
                <a:cubicBezTo>
                  <a:pt x="38" y="4"/>
                  <a:pt x="38" y="4"/>
                  <a:pt x="38" y="4"/>
                </a:cubicBezTo>
                <a:cubicBezTo>
                  <a:pt x="35" y="4"/>
                  <a:pt x="35" y="4"/>
                  <a:pt x="35" y="4"/>
                </a:cubicBezTo>
                <a:cubicBezTo>
                  <a:pt x="34" y="1"/>
                  <a:pt x="34" y="1"/>
                  <a:pt x="34" y="1"/>
                </a:cubicBezTo>
                <a:cubicBezTo>
                  <a:pt x="33" y="0"/>
                  <a:pt x="33" y="0"/>
                  <a:pt x="33" y="0"/>
                </a:cubicBezTo>
                <a:cubicBezTo>
                  <a:pt x="30" y="3"/>
                  <a:pt x="30" y="3"/>
                  <a:pt x="30" y="3"/>
                </a:cubicBezTo>
                <a:cubicBezTo>
                  <a:pt x="28" y="5"/>
                  <a:pt x="28" y="5"/>
                  <a:pt x="28" y="5"/>
                </a:cubicBezTo>
                <a:cubicBezTo>
                  <a:pt x="24" y="6"/>
                  <a:pt x="24" y="6"/>
                  <a:pt x="24" y="6"/>
                </a:cubicBezTo>
                <a:cubicBezTo>
                  <a:pt x="22" y="4"/>
                  <a:pt x="22" y="4"/>
                  <a:pt x="22" y="4"/>
                </a:cubicBezTo>
                <a:cubicBezTo>
                  <a:pt x="19" y="4"/>
                  <a:pt x="19" y="4"/>
                  <a:pt x="19" y="4"/>
                </a:cubicBezTo>
                <a:cubicBezTo>
                  <a:pt x="15" y="3"/>
                  <a:pt x="15" y="3"/>
                  <a:pt x="15" y="3"/>
                </a:cubicBezTo>
                <a:cubicBezTo>
                  <a:pt x="14" y="8"/>
                  <a:pt x="14" y="8"/>
                  <a:pt x="14" y="8"/>
                </a:cubicBezTo>
                <a:cubicBezTo>
                  <a:pt x="9" y="10"/>
                  <a:pt x="9" y="10"/>
                  <a:pt x="9" y="10"/>
                </a:cubicBezTo>
                <a:cubicBezTo>
                  <a:pt x="7" y="12"/>
                  <a:pt x="7" y="12"/>
                  <a:pt x="7" y="12"/>
                </a:cubicBezTo>
                <a:cubicBezTo>
                  <a:pt x="4" y="11"/>
                  <a:pt x="4" y="11"/>
                  <a:pt x="4" y="11"/>
                </a:cubicBezTo>
                <a:cubicBezTo>
                  <a:pt x="2" y="10"/>
                  <a:pt x="2" y="10"/>
                  <a:pt x="2" y="10"/>
                </a:cubicBezTo>
                <a:cubicBezTo>
                  <a:pt x="1" y="16"/>
                  <a:pt x="1" y="16"/>
                  <a:pt x="1" y="16"/>
                </a:cubicBezTo>
                <a:cubicBezTo>
                  <a:pt x="0" y="20"/>
                  <a:pt x="0" y="20"/>
                  <a:pt x="0" y="20"/>
                </a:cubicBezTo>
                <a:cubicBezTo>
                  <a:pt x="0" y="25"/>
                  <a:pt x="0" y="25"/>
                  <a:pt x="0" y="25"/>
                </a:cubicBezTo>
                <a:cubicBezTo>
                  <a:pt x="4" y="27"/>
                  <a:pt x="4" y="27"/>
                  <a:pt x="4" y="27"/>
                </a:cubicBezTo>
                <a:cubicBezTo>
                  <a:pt x="2" y="33"/>
                  <a:pt x="2" y="33"/>
                  <a:pt x="2" y="33"/>
                </a:cubicBezTo>
                <a:cubicBezTo>
                  <a:pt x="2" y="33"/>
                  <a:pt x="2" y="33"/>
                  <a:pt x="2" y="33"/>
                </a:cubicBezTo>
                <a:cubicBezTo>
                  <a:pt x="6" y="33"/>
                  <a:pt x="6" y="33"/>
                  <a:pt x="6" y="33"/>
                </a:cubicBezTo>
                <a:cubicBezTo>
                  <a:pt x="6" y="33"/>
                  <a:pt x="9" y="34"/>
                  <a:pt x="10" y="34"/>
                </a:cubicBezTo>
                <a:cubicBezTo>
                  <a:pt x="11" y="34"/>
                  <a:pt x="16" y="34"/>
                  <a:pt x="16" y="34"/>
                </a:cubicBezTo>
                <a:cubicBezTo>
                  <a:pt x="19" y="29"/>
                  <a:pt x="19" y="29"/>
                  <a:pt x="19" y="29"/>
                </a:cubicBezTo>
                <a:cubicBezTo>
                  <a:pt x="19" y="29"/>
                  <a:pt x="22" y="27"/>
                  <a:pt x="22" y="27"/>
                </a:cubicBezTo>
                <a:cubicBezTo>
                  <a:pt x="23" y="27"/>
                  <a:pt x="28" y="25"/>
                  <a:pt x="28" y="25"/>
                </a:cubicBezTo>
                <a:cubicBezTo>
                  <a:pt x="29" y="21"/>
                  <a:pt x="29" y="21"/>
                  <a:pt x="29" y="21"/>
                </a:cubicBezTo>
                <a:cubicBezTo>
                  <a:pt x="30" y="20"/>
                  <a:pt x="30" y="20"/>
                  <a:pt x="30" y="20"/>
                </a:cubicBezTo>
                <a:cubicBezTo>
                  <a:pt x="30" y="18"/>
                  <a:pt x="30" y="18"/>
                  <a:pt x="30" y="18"/>
                </a:cubicBezTo>
                <a:cubicBezTo>
                  <a:pt x="30" y="18"/>
                  <a:pt x="32" y="17"/>
                  <a:pt x="32" y="17"/>
                </a:cubicBezTo>
                <a:cubicBezTo>
                  <a:pt x="33" y="17"/>
                  <a:pt x="34" y="12"/>
                  <a:pt x="34" y="12"/>
                </a:cubicBezTo>
                <a:cubicBezTo>
                  <a:pt x="34" y="9"/>
                  <a:pt x="34" y="9"/>
                  <a:pt x="34" y="9"/>
                </a:cubicBezTo>
                <a:cubicBezTo>
                  <a:pt x="39" y="7"/>
                  <a:pt x="39" y="7"/>
                  <a:pt x="39" y="7"/>
                </a:cubicBezTo>
                <a:cubicBezTo>
                  <a:pt x="46" y="6"/>
                  <a:pt x="46" y="6"/>
                  <a:pt x="46" y="6"/>
                </a:cubicBezTo>
                <a:cubicBezTo>
                  <a:pt x="44" y="3"/>
                  <a:pt x="44" y="3"/>
                  <a:pt x="44" y="3"/>
                </a:cubicBezTo>
                <a:lnTo>
                  <a:pt x="42" y="3"/>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69" name="Freeform 1338"/>
          <p:cNvSpPr>
            <a:spLocks/>
          </p:cNvSpPr>
          <p:nvPr/>
        </p:nvSpPr>
        <p:spPr bwMode="auto">
          <a:xfrm>
            <a:off x="6624067" y="3783162"/>
            <a:ext cx="119062" cy="76200"/>
          </a:xfrm>
          <a:custGeom>
            <a:avLst/>
            <a:gdLst>
              <a:gd name="T0" fmla="*/ 95250 w 90"/>
              <a:gd name="T1" fmla="*/ 41031 h 78"/>
              <a:gd name="T2" fmla="*/ 103187 w 90"/>
              <a:gd name="T3" fmla="*/ 29308 h 78"/>
              <a:gd name="T4" fmla="*/ 111125 w 90"/>
              <a:gd name="T5" fmla="*/ 17585 h 78"/>
              <a:gd name="T6" fmla="*/ 63500 w 90"/>
              <a:gd name="T7" fmla="*/ 11723 h 78"/>
              <a:gd name="T8" fmla="*/ 39687 w 90"/>
              <a:gd name="T9" fmla="*/ 0 h 78"/>
              <a:gd name="T10" fmla="*/ 15875 w 90"/>
              <a:gd name="T11" fmla="*/ 0 h 78"/>
              <a:gd name="T12" fmla="*/ 7937 w 90"/>
              <a:gd name="T13" fmla="*/ 11723 h 78"/>
              <a:gd name="T14" fmla="*/ 0 w 90"/>
              <a:gd name="T15" fmla="*/ 17585 h 78"/>
              <a:gd name="T16" fmla="*/ 7937 w 90"/>
              <a:gd name="T17" fmla="*/ 29308 h 78"/>
              <a:gd name="T18" fmla="*/ 23812 w 90"/>
              <a:gd name="T19" fmla="*/ 76200 h 78"/>
              <a:gd name="T20" fmla="*/ 71437 w 90"/>
              <a:gd name="T21" fmla="*/ 70338 h 78"/>
              <a:gd name="T22" fmla="*/ 103187 w 90"/>
              <a:gd name="T23" fmla="*/ 64477 h 78"/>
              <a:gd name="T24" fmla="*/ 111125 w 90"/>
              <a:gd name="T25" fmla="*/ 70338 h 78"/>
              <a:gd name="T26" fmla="*/ 119062 w 90"/>
              <a:gd name="T27" fmla="*/ 46892 h 78"/>
              <a:gd name="T28" fmla="*/ 95250 w 90"/>
              <a:gd name="T29" fmla="*/ 41031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0"/>
              <a:gd name="T46" fmla="*/ 0 h 78"/>
              <a:gd name="T47" fmla="*/ 90 w 90"/>
              <a:gd name="T48" fmla="*/ 78 h 7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solidFill>
            <a:srgbClr val="7030A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70" name="Freeform 1339"/>
          <p:cNvSpPr>
            <a:spLocks/>
          </p:cNvSpPr>
          <p:nvPr/>
        </p:nvSpPr>
        <p:spPr bwMode="auto">
          <a:xfrm>
            <a:off x="4958779" y="3011637"/>
            <a:ext cx="158750" cy="80962"/>
          </a:xfrm>
          <a:custGeom>
            <a:avLst/>
            <a:gdLst>
              <a:gd name="T0" fmla="*/ 150813 w 20"/>
              <a:gd name="T1" fmla="*/ 23132 h 14"/>
              <a:gd name="T2" fmla="*/ 134938 w 20"/>
              <a:gd name="T3" fmla="*/ 11566 h 14"/>
              <a:gd name="T4" fmla="*/ 119062 w 20"/>
              <a:gd name="T5" fmla="*/ 0 h 14"/>
              <a:gd name="T6" fmla="*/ 103187 w 20"/>
              <a:gd name="T7" fmla="*/ 5783 h 14"/>
              <a:gd name="T8" fmla="*/ 71438 w 20"/>
              <a:gd name="T9" fmla="*/ 0 h 14"/>
              <a:gd name="T10" fmla="*/ 39688 w 20"/>
              <a:gd name="T11" fmla="*/ 0 h 14"/>
              <a:gd name="T12" fmla="*/ 7938 w 20"/>
              <a:gd name="T13" fmla="*/ 5783 h 14"/>
              <a:gd name="T14" fmla="*/ 7938 w 20"/>
              <a:gd name="T15" fmla="*/ 28915 h 14"/>
              <a:gd name="T16" fmla="*/ 0 w 20"/>
              <a:gd name="T17" fmla="*/ 34698 h 14"/>
              <a:gd name="T18" fmla="*/ 15875 w 20"/>
              <a:gd name="T19" fmla="*/ 34698 h 14"/>
              <a:gd name="T20" fmla="*/ 31750 w 20"/>
              <a:gd name="T21" fmla="*/ 40481 h 14"/>
              <a:gd name="T22" fmla="*/ 47625 w 20"/>
              <a:gd name="T23" fmla="*/ 46264 h 14"/>
              <a:gd name="T24" fmla="*/ 55562 w 20"/>
              <a:gd name="T25" fmla="*/ 57830 h 14"/>
              <a:gd name="T26" fmla="*/ 47625 w 20"/>
              <a:gd name="T27" fmla="*/ 69396 h 14"/>
              <a:gd name="T28" fmla="*/ 55562 w 20"/>
              <a:gd name="T29" fmla="*/ 69396 h 14"/>
              <a:gd name="T30" fmla="*/ 71438 w 20"/>
              <a:gd name="T31" fmla="*/ 80962 h 14"/>
              <a:gd name="T32" fmla="*/ 87312 w 20"/>
              <a:gd name="T33" fmla="*/ 75179 h 14"/>
              <a:gd name="T34" fmla="*/ 103187 w 20"/>
              <a:gd name="T35" fmla="*/ 69396 h 14"/>
              <a:gd name="T36" fmla="*/ 127000 w 20"/>
              <a:gd name="T37" fmla="*/ 69396 h 14"/>
              <a:gd name="T38" fmla="*/ 127000 w 20"/>
              <a:gd name="T39" fmla="*/ 52047 h 14"/>
              <a:gd name="T40" fmla="*/ 142875 w 20"/>
              <a:gd name="T41" fmla="*/ 40481 h 14"/>
              <a:gd name="T42" fmla="*/ 158750 w 20"/>
              <a:gd name="T43" fmla="*/ 23132 h 14"/>
              <a:gd name="T44" fmla="*/ 150813 w 20"/>
              <a:gd name="T45" fmla="*/ 23132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
              <a:gd name="T70" fmla="*/ 0 h 14"/>
              <a:gd name="T71" fmla="*/ 20 w 20"/>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71" name="Freeform 1340"/>
          <p:cNvSpPr>
            <a:spLocks/>
          </p:cNvSpPr>
          <p:nvPr/>
        </p:nvSpPr>
        <p:spPr bwMode="auto">
          <a:xfrm>
            <a:off x="5028629" y="2898924"/>
            <a:ext cx="119063" cy="76200"/>
          </a:xfrm>
          <a:custGeom>
            <a:avLst/>
            <a:gdLst>
              <a:gd name="T0" fmla="*/ 71438 w 90"/>
              <a:gd name="T1" fmla="*/ 64477 h 78"/>
              <a:gd name="T2" fmla="*/ 103188 w 90"/>
              <a:gd name="T3" fmla="*/ 76200 h 78"/>
              <a:gd name="T4" fmla="*/ 111125 w 90"/>
              <a:gd name="T5" fmla="*/ 41031 h 78"/>
              <a:gd name="T6" fmla="*/ 111125 w 90"/>
              <a:gd name="T7" fmla="*/ 29308 h 78"/>
              <a:gd name="T8" fmla="*/ 119063 w 90"/>
              <a:gd name="T9" fmla="*/ 5862 h 78"/>
              <a:gd name="T10" fmla="*/ 111125 w 90"/>
              <a:gd name="T11" fmla="*/ 0 h 78"/>
              <a:gd name="T12" fmla="*/ 95250 w 90"/>
              <a:gd name="T13" fmla="*/ 0 h 78"/>
              <a:gd name="T14" fmla="*/ 47625 w 90"/>
              <a:gd name="T15" fmla="*/ 0 h 78"/>
              <a:gd name="T16" fmla="*/ 0 w 90"/>
              <a:gd name="T17" fmla="*/ 17585 h 78"/>
              <a:gd name="T18" fmla="*/ 0 w 90"/>
              <a:gd name="T19" fmla="*/ 29308 h 78"/>
              <a:gd name="T20" fmla="*/ 7938 w 90"/>
              <a:gd name="T21" fmla="*/ 41031 h 78"/>
              <a:gd name="T22" fmla="*/ 15875 w 90"/>
              <a:gd name="T23" fmla="*/ 46892 h 78"/>
              <a:gd name="T24" fmla="*/ 23813 w 90"/>
              <a:gd name="T25" fmla="*/ 52754 h 78"/>
              <a:gd name="T26" fmla="*/ 15875 w 90"/>
              <a:gd name="T27" fmla="*/ 58615 h 78"/>
              <a:gd name="T28" fmla="*/ 47625 w 90"/>
              <a:gd name="T29" fmla="*/ 52754 h 78"/>
              <a:gd name="T30" fmla="*/ 71438 w 90"/>
              <a:gd name="T31" fmla="*/ 6447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0"/>
              <a:gd name="T49" fmla="*/ 0 h 78"/>
              <a:gd name="T50" fmla="*/ 90 w 90"/>
              <a:gd name="T51" fmla="*/ 78 h 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72" name="Freeform 1341"/>
          <p:cNvSpPr>
            <a:spLocks/>
          </p:cNvSpPr>
          <p:nvPr/>
        </p:nvSpPr>
        <p:spPr bwMode="auto">
          <a:xfrm>
            <a:off x="5023867" y="3017987"/>
            <a:ext cx="233362" cy="157162"/>
          </a:xfrm>
          <a:custGeom>
            <a:avLst/>
            <a:gdLst>
              <a:gd name="T0" fmla="*/ 233362 w 30"/>
              <a:gd name="T1" fmla="*/ 81491 h 27"/>
              <a:gd name="T2" fmla="*/ 210026 w 30"/>
              <a:gd name="T3" fmla="*/ 64029 h 27"/>
              <a:gd name="T4" fmla="*/ 178911 w 30"/>
              <a:gd name="T5" fmla="*/ 17462 h 27"/>
              <a:gd name="T6" fmla="*/ 155575 w 30"/>
              <a:gd name="T7" fmla="*/ 11642 h 27"/>
              <a:gd name="T8" fmla="*/ 132238 w 30"/>
              <a:gd name="T9" fmla="*/ 0 h 27"/>
              <a:gd name="T10" fmla="*/ 108902 w 30"/>
              <a:gd name="T11" fmla="*/ 11642 h 27"/>
              <a:gd name="T12" fmla="*/ 85566 w 30"/>
              <a:gd name="T13" fmla="*/ 17462 h 27"/>
              <a:gd name="T14" fmla="*/ 93345 w 30"/>
              <a:gd name="T15" fmla="*/ 17462 h 27"/>
              <a:gd name="T16" fmla="*/ 77787 w 30"/>
              <a:gd name="T17" fmla="*/ 34925 h 27"/>
              <a:gd name="T18" fmla="*/ 62230 w 30"/>
              <a:gd name="T19" fmla="*/ 46567 h 27"/>
              <a:gd name="T20" fmla="*/ 62230 w 30"/>
              <a:gd name="T21" fmla="*/ 64029 h 27"/>
              <a:gd name="T22" fmla="*/ 38894 w 30"/>
              <a:gd name="T23" fmla="*/ 64029 h 27"/>
              <a:gd name="T24" fmla="*/ 23336 w 30"/>
              <a:gd name="T25" fmla="*/ 69850 h 27"/>
              <a:gd name="T26" fmla="*/ 7779 w 30"/>
              <a:gd name="T27" fmla="*/ 75671 h 27"/>
              <a:gd name="T28" fmla="*/ 7779 w 30"/>
              <a:gd name="T29" fmla="*/ 81491 h 27"/>
              <a:gd name="T30" fmla="*/ 15557 w 30"/>
              <a:gd name="T31" fmla="*/ 104775 h 27"/>
              <a:gd name="T32" fmla="*/ 0 w 30"/>
              <a:gd name="T33" fmla="*/ 116416 h 27"/>
              <a:gd name="T34" fmla="*/ 7779 w 30"/>
              <a:gd name="T35" fmla="*/ 133879 h 27"/>
              <a:gd name="T36" fmla="*/ 7779 w 30"/>
              <a:gd name="T37" fmla="*/ 145520 h 27"/>
              <a:gd name="T38" fmla="*/ 23336 w 30"/>
              <a:gd name="T39" fmla="*/ 139700 h 27"/>
              <a:gd name="T40" fmla="*/ 54451 w 30"/>
              <a:gd name="T41" fmla="*/ 139700 h 27"/>
              <a:gd name="T42" fmla="*/ 101124 w 30"/>
              <a:gd name="T43" fmla="*/ 151341 h 27"/>
              <a:gd name="T44" fmla="*/ 155575 w 30"/>
              <a:gd name="T45" fmla="*/ 151341 h 27"/>
              <a:gd name="T46" fmla="*/ 186690 w 30"/>
              <a:gd name="T47" fmla="*/ 157162 h 27"/>
              <a:gd name="T48" fmla="*/ 202247 w 30"/>
              <a:gd name="T49" fmla="*/ 122237 h 27"/>
              <a:gd name="T50" fmla="*/ 210026 w 30"/>
              <a:gd name="T51" fmla="*/ 122237 h 27"/>
              <a:gd name="T52" fmla="*/ 202247 w 30"/>
              <a:gd name="T53" fmla="*/ 98954 h 27"/>
              <a:gd name="T54" fmla="*/ 225583 w 30"/>
              <a:gd name="T55" fmla="*/ 93133 h 27"/>
              <a:gd name="T56" fmla="*/ 233362 w 30"/>
              <a:gd name="T57" fmla="*/ 81491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0"/>
              <a:gd name="T88" fmla="*/ 0 h 27"/>
              <a:gd name="T89" fmla="*/ 30 w 30"/>
              <a:gd name="T90" fmla="*/ 27 h 2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73" name="Freeform 1342"/>
          <p:cNvSpPr>
            <a:spLocks/>
          </p:cNvSpPr>
          <p:nvPr/>
        </p:nvSpPr>
        <p:spPr bwMode="auto">
          <a:xfrm>
            <a:off x="4966717" y="2952899"/>
            <a:ext cx="190500" cy="80963"/>
          </a:xfrm>
          <a:custGeom>
            <a:avLst/>
            <a:gdLst>
              <a:gd name="T0" fmla="*/ 63500 w 24"/>
              <a:gd name="T1" fmla="*/ 57831 h 14"/>
              <a:gd name="T2" fmla="*/ 95250 w 24"/>
              <a:gd name="T3" fmla="*/ 63614 h 14"/>
              <a:gd name="T4" fmla="*/ 111125 w 24"/>
              <a:gd name="T5" fmla="*/ 57831 h 14"/>
              <a:gd name="T6" fmla="*/ 127000 w 24"/>
              <a:gd name="T7" fmla="*/ 69397 h 14"/>
              <a:gd name="T8" fmla="*/ 142875 w 24"/>
              <a:gd name="T9" fmla="*/ 80963 h 14"/>
              <a:gd name="T10" fmla="*/ 166688 w 24"/>
              <a:gd name="T11" fmla="*/ 75180 h 14"/>
              <a:gd name="T12" fmla="*/ 190500 w 24"/>
              <a:gd name="T13" fmla="*/ 63614 h 14"/>
              <a:gd name="T14" fmla="*/ 182563 w 24"/>
              <a:gd name="T15" fmla="*/ 57831 h 14"/>
              <a:gd name="T16" fmla="*/ 166688 w 24"/>
              <a:gd name="T17" fmla="*/ 28915 h 14"/>
              <a:gd name="T18" fmla="*/ 166688 w 24"/>
              <a:gd name="T19" fmla="*/ 23132 h 14"/>
              <a:gd name="T20" fmla="*/ 134938 w 24"/>
              <a:gd name="T21" fmla="*/ 11566 h 14"/>
              <a:gd name="T22" fmla="*/ 111125 w 24"/>
              <a:gd name="T23" fmla="*/ 0 h 14"/>
              <a:gd name="T24" fmla="*/ 79375 w 24"/>
              <a:gd name="T25" fmla="*/ 5783 h 14"/>
              <a:gd name="T26" fmla="*/ 71438 w 24"/>
              <a:gd name="T27" fmla="*/ 28915 h 14"/>
              <a:gd name="T28" fmla="*/ 63500 w 24"/>
              <a:gd name="T29" fmla="*/ 34698 h 14"/>
              <a:gd name="T30" fmla="*/ 39688 w 24"/>
              <a:gd name="T31" fmla="*/ 17349 h 14"/>
              <a:gd name="T32" fmla="*/ 23813 w 24"/>
              <a:gd name="T33" fmla="*/ 17349 h 14"/>
              <a:gd name="T34" fmla="*/ 7938 w 24"/>
              <a:gd name="T35" fmla="*/ 46265 h 14"/>
              <a:gd name="T36" fmla="*/ 0 w 24"/>
              <a:gd name="T37" fmla="*/ 63614 h 14"/>
              <a:gd name="T38" fmla="*/ 31750 w 24"/>
              <a:gd name="T39" fmla="*/ 57831 h 14"/>
              <a:gd name="T40" fmla="*/ 63500 w 24"/>
              <a:gd name="T41" fmla="*/ 57831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
              <a:gd name="T64" fmla="*/ 0 h 14"/>
              <a:gd name="T65" fmla="*/ 24 w 24"/>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74" name="Freeform 1343"/>
          <p:cNvSpPr>
            <a:spLocks/>
          </p:cNvSpPr>
          <p:nvPr/>
        </p:nvSpPr>
        <p:spPr bwMode="auto">
          <a:xfrm>
            <a:off x="4065017" y="4040337"/>
            <a:ext cx="188912" cy="106362"/>
          </a:xfrm>
          <a:custGeom>
            <a:avLst/>
            <a:gdLst>
              <a:gd name="T0" fmla="*/ 70842 w 24"/>
              <a:gd name="T1" fmla="*/ 59090 h 18"/>
              <a:gd name="T2" fmla="*/ 102327 w 24"/>
              <a:gd name="T3" fmla="*/ 59090 h 18"/>
              <a:gd name="T4" fmla="*/ 118070 w 24"/>
              <a:gd name="T5" fmla="*/ 76817 h 18"/>
              <a:gd name="T6" fmla="*/ 125941 w 24"/>
              <a:gd name="T7" fmla="*/ 82726 h 18"/>
              <a:gd name="T8" fmla="*/ 141684 w 24"/>
              <a:gd name="T9" fmla="*/ 88635 h 18"/>
              <a:gd name="T10" fmla="*/ 157427 w 24"/>
              <a:gd name="T11" fmla="*/ 106362 h 18"/>
              <a:gd name="T12" fmla="*/ 173169 w 24"/>
              <a:gd name="T13" fmla="*/ 100453 h 18"/>
              <a:gd name="T14" fmla="*/ 188912 w 24"/>
              <a:gd name="T15" fmla="*/ 94544 h 18"/>
              <a:gd name="T16" fmla="*/ 188912 w 24"/>
              <a:gd name="T17" fmla="*/ 70908 h 18"/>
              <a:gd name="T18" fmla="*/ 188912 w 24"/>
              <a:gd name="T19" fmla="*/ 47272 h 18"/>
              <a:gd name="T20" fmla="*/ 181041 w 24"/>
              <a:gd name="T21" fmla="*/ 47272 h 18"/>
              <a:gd name="T22" fmla="*/ 165298 w 24"/>
              <a:gd name="T23" fmla="*/ 17727 h 18"/>
              <a:gd name="T24" fmla="*/ 157427 w 24"/>
              <a:gd name="T25" fmla="*/ 5909 h 18"/>
              <a:gd name="T26" fmla="*/ 125941 w 24"/>
              <a:gd name="T27" fmla="*/ 11818 h 18"/>
              <a:gd name="T28" fmla="*/ 94456 w 24"/>
              <a:gd name="T29" fmla="*/ 11818 h 18"/>
              <a:gd name="T30" fmla="*/ 94456 w 24"/>
              <a:gd name="T31" fmla="*/ 5909 h 18"/>
              <a:gd name="T32" fmla="*/ 55099 w 24"/>
              <a:gd name="T33" fmla="*/ 0 h 18"/>
              <a:gd name="T34" fmla="*/ 39357 w 24"/>
              <a:gd name="T35" fmla="*/ 0 h 18"/>
              <a:gd name="T36" fmla="*/ 39357 w 24"/>
              <a:gd name="T37" fmla="*/ 5909 h 18"/>
              <a:gd name="T38" fmla="*/ 39357 w 24"/>
              <a:gd name="T39" fmla="*/ 23636 h 18"/>
              <a:gd name="T40" fmla="*/ 23614 w 24"/>
              <a:gd name="T41" fmla="*/ 23636 h 18"/>
              <a:gd name="T42" fmla="*/ 0 w 24"/>
              <a:gd name="T43" fmla="*/ 35454 h 18"/>
              <a:gd name="T44" fmla="*/ 7871 w 24"/>
              <a:gd name="T45" fmla="*/ 35454 h 18"/>
              <a:gd name="T46" fmla="*/ 47228 w 24"/>
              <a:gd name="T47" fmla="*/ 76817 h 18"/>
              <a:gd name="T48" fmla="*/ 62971 w 24"/>
              <a:gd name="T49" fmla="*/ 70908 h 18"/>
              <a:gd name="T50" fmla="*/ 70842 w 24"/>
              <a:gd name="T51" fmla="*/ 5909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
              <a:gd name="T79" fmla="*/ 0 h 18"/>
              <a:gd name="T80" fmla="*/ 24 w 24"/>
              <a:gd name="T81" fmla="*/ 18 h 1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75" name="Freeform 1344"/>
          <p:cNvSpPr>
            <a:spLocks/>
          </p:cNvSpPr>
          <p:nvPr/>
        </p:nvSpPr>
        <p:spPr bwMode="auto">
          <a:xfrm>
            <a:off x="4018979" y="3965724"/>
            <a:ext cx="147638" cy="82550"/>
          </a:xfrm>
          <a:custGeom>
            <a:avLst/>
            <a:gdLst>
              <a:gd name="T0" fmla="*/ 69934 w 114"/>
              <a:gd name="T1" fmla="*/ 76723 h 85"/>
              <a:gd name="T2" fmla="*/ 85475 w 114"/>
              <a:gd name="T3" fmla="*/ 76723 h 85"/>
              <a:gd name="T4" fmla="*/ 101015 w 114"/>
              <a:gd name="T5" fmla="*/ 76723 h 85"/>
              <a:gd name="T6" fmla="*/ 139868 w 114"/>
              <a:gd name="T7" fmla="*/ 82550 h 85"/>
              <a:gd name="T8" fmla="*/ 147638 w 114"/>
              <a:gd name="T9" fmla="*/ 82550 h 85"/>
              <a:gd name="T10" fmla="*/ 132097 w 114"/>
              <a:gd name="T11" fmla="*/ 59242 h 85"/>
              <a:gd name="T12" fmla="*/ 124327 w 114"/>
              <a:gd name="T13" fmla="*/ 41761 h 85"/>
              <a:gd name="T14" fmla="*/ 124327 w 114"/>
              <a:gd name="T15" fmla="*/ 34962 h 85"/>
              <a:gd name="T16" fmla="*/ 124327 w 114"/>
              <a:gd name="T17" fmla="*/ 34962 h 85"/>
              <a:gd name="T18" fmla="*/ 108786 w 114"/>
              <a:gd name="T19" fmla="*/ 29135 h 85"/>
              <a:gd name="T20" fmla="*/ 93245 w 114"/>
              <a:gd name="T21" fmla="*/ 17481 h 85"/>
              <a:gd name="T22" fmla="*/ 54393 w 114"/>
              <a:gd name="T23" fmla="*/ 0 h 85"/>
              <a:gd name="T24" fmla="*/ 38852 w 114"/>
              <a:gd name="T25" fmla="*/ 5827 h 85"/>
              <a:gd name="T26" fmla="*/ 15541 w 114"/>
              <a:gd name="T27" fmla="*/ 5827 h 85"/>
              <a:gd name="T28" fmla="*/ 0 w 114"/>
              <a:gd name="T29" fmla="*/ 41761 h 85"/>
              <a:gd name="T30" fmla="*/ 15541 w 114"/>
              <a:gd name="T31" fmla="*/ 82550 h 85"/>
              <a:gd name="T32" fmla="*/ 23311 w 114"/>
              <a:gd name="T33" fmla="*/ 82550 h 85"/>
              <a:gd name="T34" fmla="*/ 31082 w 114"/>
              <a:gd name="T35" fmla="*/ 82550 h 85"/>
              <a:gd name="T36" fmla="*/ 69934 w 114"/>
              <a:gd name="T37" fmla="*/ 76723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4"/>
              <a:gd name="T58" fmla="*/ 0 h 85"/>
              <a:gd name="T59" fmla="*/ 114 w 114"/>
              <a:gd name="T60" fmla="*/ 85 h 8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76" name="Freeform 1345"/>
          <p:cNvSpPr>
            <a:spLocks/>
          </p:cNvSpPr>
          <p:nvPr/>
        </p:nvSpPr>
        <p:spPr bwMode="auto">
          <a:xfrm>
            <a:off x="4026917" y="3760937"/>
            <a:ext cx="298450" cy="239712"/>
          </a:xfrm>
          <a:custGeom>
            <a:avLst/>
            <a:gdLst>
              <a:gd name="T0" fmla="*/ 47124 w 38"/>
              <a:gd name="T1" fmla="*/ 204632 h 41"/>
              <a:gd name="T2" fmla="*/ 86393 w 38"/>
              <a:gd name="T3" fmla="*/ 222172 h 41"/>
              <a:gd name="T4" fmla="*/ 102101 w 38"/>
              <a:gd name="T5" fmla="*/ 233865 h 41"/>
              <a:gd name="T6" fmla="*/ 117809 w 38"/>
              <a:gd name="T7" fmla="*/ 239712 h 41"/>
              <a:gd name="T8" fmla="*/ 117809 w 38"/>
              <a:gd name="T9" fmla="*/ 239712 h 41"/>
              <a:gd name="T10" fmla="*/ 141371 w 38"/>
              <a:gd name="T11" fmla="*/ 222172 h 41"/>
              <a:gd name="T12" fmla="*/ 157079 w 38"/>
              <a:gd name="T13" fmla="*/ 233865 h 41"/>
              <a:gd name="T14" fmla="*/ 164933 w 38"/>
              <a:gd name="T15" fmla="*/ 228019 h 41"/>
              <a:gd name="T16" fmla="*/ 274888 w 38"/>
              <a:gd name="T17" fmla="*/ 228019 h 41"/>
              <a:gd name="T18" fmla="*/ 298450 w 38"/>
              <a:gd name="T19" fmla="*/ 216325 h 41"/>
              <a:gd name="T20" fmla="*/ 282742 w 38"/>
              <a:gd name="T21" fmla="*/ 210479 h 41"/>
              <a:gd name="T22" fmla="*/ 259180 w 38"/>
              <a:gd name="T23" fmla="*/ 40926 h 41"/>
              <a:gd name="T24" fmla="*/ 282742 w 38"/>
              <a:gd name="T25" fmla="*/ 40926 h 41"/>
              <a:gd name="T26" fmla="*/ 212057 w 38"/>
              <a:gd name="T27" fmla="*/ 0 h 41"/>
              <a:gd name="T28" fmla="*/ 212057 w 38"/>
              <a:gd name="T29" fmla="*/ 17540 h 41"/>
              <a:gd name="T30" fmla="*/ 133517 w 38"/>
              <a:gd name="T31" fmla="*/ 17540 h 41"/>
              <a:gd name="T32" fmla="*/ 125663 w 38"/>
              <a:gd name="T33" fmla="*/ 64313 h 41"/>
              <a:gd name="T34" fmla="*/ 109955 w 38"/>
              <a:gd name="T35" fmla="*/ 76006 h 41"/>
              <a:gd name="T36" fmla="*/ 102101 w 38"/>
              <a:gd name="T37" fmla="*/ 116933 h 41"/>
              <a:gd name="T38" fmla="*/ 7854 w 38"/>
              <a:gd name="T39" fmla="*/ 111086 h 41"/>
              <a:gd name="T40" fmla="*/ 0 w 38"/>
              <a:gd name="T41" fmla="*/ 116933 h 41"/>
              <a:gd name="T42" fmla="*/ 23562 w 38"/>
              <a:gd name="T43" fmla="*/ 152012 h 41"/>
              <a:gd name="T44" fmla="*/ 23562 w 38"/>
              <a:gd name="T45" fmla="*/ 192939 h 41"/>
              <a:gd name="T46" fmla="*/ 7854 w 38"/>
              <a:gd name="T47" fmla="*/ 210479 h 41"/>
              <a:gd name="T48" fmla="*/ 31416 w 38"/>
              <a:gd name="T49" fmla="*/ 210479 h 41"/>
              <a:gd name="T50" fmla="*/ 47124 w 38"/>
              <a:gd name="T51" fmla="*/ 204632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8"/>
              <a:gd name="T79" fmla="*/ 0 h 41"/>
              <a:gd name="T80" fmla="*/ 38 w 38"/>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77" name="Freeform 1346"/>
          <p:cNvSpPr>
            <a:spLocks/>
          </p:cNvSpPr>
          <p:nvPr/>
        </p:nvSpPr>
        <p:spPr bwMode="auto">
          <a:xfrm>
            <a:off x="5054029" y="3660924"/>
            <a:ext cx="282575" cy="204788"/>
          </a:xfrm>
          <a:custGeom>
            <a:avLst/>
            <a:gdLst>
              <a:gd name="T0" fmla="*/ 0 w 36"/>
              <a:gd name="T1" fmla="*/ 29255 h 35"/>
              <a:gd name="T2" fmla="*/ 7849 w 36"/>
              <a:gd name="T3" fmla="*/ 46809 h 35"/>
              <a:gd name="T4" fmla="*/ 15699 w 36"/>
              <a:gd name="T5" fmla="*/ 58511 h 35"/>
              <a:gd name="T6" fmla="*/ 15699 w 36"/>
              <a:gd name="T7" fmla="*/ 204788 h 35"/>
              <a:gd name="T8" fmla="*/ 23548 w 36"/>
              <a:gd name="T9" fmla="*/ 204788 h 35"/>
              <a:gd name="T10" fmla="*/ 227630 w 36"/>
              <a:gd name="T11" fmla="*/ 204788 h 35"/>
              <a:gd name="T12" fmla="*/ 266876 w 36"/>
              <a:gd name="T13" fmla="*/ 187235 h 35"/>
              <a:gd name="T14" fmla="*/ 282575 w 36"/>
              <a:gd name="T15" fmla="*/ 175533 h 35"/>
              <a:gd name="T16" fmla="*/ 282575 w 36"/>
              <a:gd name="T17" fmla="*/ 175533 h 35"/>
              <a:gd name="T18" fmla="*/ 259027 w 36"/>
              <a:gd name="T19" fmla="*/ 134575 h 35"/>
              <a:gd name="T20" fmla="*/ 227630 w 36"/>
              <a:gd name="T21" fmla="*/ 87766 h 35"/>
              <a:gd name="T22" fmla="*/ 188383 w 36"/>
              <a:gd name="T23" fmla="*/ 46809 h 35"/>
              <a:gd name="T24" fmla="*/ 243328 w 36"/>
              <a:gd name="T25" fmla="*/ 70213 h 35"/>
              <a:gd name="T26" fmla="*/ 266876 w 36"/>
              <a:gd name="T27" fmla="*/ 52660 h 35"/>
              <a:gd name="T28" fmla="*/ 259027 w 36"/>
              <a:gd name="T29" fmla="*/ 52660 h 35"/>
              <a:gd name="T30" fmla="*/ 235479 w 36"/>
              <a:gd name="T31" fmla="*/ 5851 h 35"/>
              <a:gd name="T32" fmla="*/ 219781 w 36"/>
              <a:gd name="T33" fmla="*/ 17553 h 35"/>
              <a:gd name="T34" fmla="*/ 172685 w 36"/>
              <a:gd name="T35" fmla="*/ 11702 h 35"/>
              <a:gd name="T36" fmla="*/ 149137 w 36"/>
              <a:gd name="T37" fmla="*/ 5851 h 35"/>
              <a:gd name="T38" fmla="*/ 94192 w 36"/>
              <a:gd name="T39" fmla="*/ 17553 h 35"/>
              <a:gd name="T40" fmla="*/ 47096 w 36"/>
              <a:gd name="T41" fmla="*/ 0 h 35"/>
              <a:gd name="T42" fmla="*/ 15699 w 36"/>
              <a:gd name="T43" fmla="*/ 0 h 35"/>
              <a:gd name="T44" fmla="*/ 7849 w 36"/>
              <a:gd name="T45" fmla="*/ 11702 h 35"/>
              <a:gd name="T46" fmla="*/ 0 w 36"/>
              <a:gd name="T47" fmla="*/ 29255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35"/>
              <a:gd name="T74" fmla="*/ 36 w 36"/>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solidFill>
            <a:srgbClr val="B2A797"/>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78" name="Freeform 1347"/>
          <p:cNvSpPr>
            <a:spLocks/>
          </p:cNvSpPr>
          <p:nvPr/>
        </p:nvSpPr>
        <p:spPr bwMode="auto">
          <a:xfrm>
            <a:off x="4668267" y="3625999"/>
            <a:ext cx="409575" cy="292100"/>
          </a:xfrm>
          <a:custGeom>
            <a:avLst/>
            <a:gdLst>
              <a:gd name="T0" fmla="*/ 31506 w 52"/>
              <a:gd name="T1" fmla="*/ 35052 h 50"/>
              <a:gd name="T2" fmla="*/ 23629 w 52"/>
              <a:gd name="T3" fmla="*/ 52578 h 50"/>
              <a:gd name="T4" fmla="*/ 15753 w 52"/>
              <a:gd name="T5" fmla="*/ 58420 h 50"/>
              <a:gd name="T6" fmla="*/ 0 w 52"/>
              <a:gd name="T7" fmla="*/ 70104 h 50"/>
              <a:gd name="T8" fmla="*/ 0 w 52"/>
              <a:gd name="T9" fmla="*/ 169418 h 50"/>
              <a:gd name="T10" fmla="*/ 47259 w 52"/>
              <a:gd name="T11" fmla="*/ 198628 h 50"/>
              <a:gd name="T12" fmla="*/ 70888 w 52"/>
              <a:gd name="T13" fmla="*/ 204470 h 50"/>
              <a:gd name="T14" fmla="*/ 133900 w 52"/>
              <a:gd name="T15" fmla="*/ 210312 h 50"/>
              <a:gd name="T16" fmla="*/ 149652 w 52"/>
              <a:gd name="T17" fmla="*/ 221996 h 50"/>
              <a:gd name="T18" fmla="*/ 181158 w 52"/>
              <a:gd name="T19" fmla="*/ 210312 h 50"/>
              <a:gd name="T20" fmla="*/ 370193 w 52"/>
              <a:gd name="T21" fmla="*/ 286258 h 50"/>
              <a:gd name="T22" fmla="*/ 370193 w 52"/>
              <a:gd name="T23" fmla="*/ 280416 h 50"/>
              <a:gd name="T24" fmla="*/ 370193 w 52"/>
              <a:gd name="T25" fmla="*/ 286258 h 50"/>
              <a:gd name="T26" fmla="*/ 378069 w 52"/>
              <a:gd name="T27" fmla="*/ 292100 h 50"/>
              <a:gd name="T28" fmla="*/ 378069 w 52"/>
              <a:gd name="T29" fmla="*/ 274574 h 50"/>
              <a:gd name="T30" fmla="*/ 401699 w 52"/>
              <a:gd name="T31" fmla="*/ 274574 h 50"/>
              <a:gd name="T32" fmla="*/ 409575 w 52"/>
              <a:gd name="T33" fmla="*/ 239522 h 50"/>
              <a:gd name="T34" fmla="*/ 401699 w 52"/>
              <a:gd name="T35" fmla="*/ 239522 h 50"/>
              <a:gd name="T36" fmla="*/ 401699 w 52"/>
              <a:gd name="T37" fmla="*/ 93472 h 50"/>
              <a:gd name="T38" fmla="*/ 393822 w 52"/>
              <a:gd name="T39" fmla="*/ 81788 h 50"/>
              <a:gd name="T40" fmla="*/ 385946 w 52"/>
              <a:gd name="T41" fmla="*/ 64262 h 50"/>
              <a:gd name="T42" fmla="*/ 393822 w 52"/>
              <a:gd name="T43" fmla="*/ 46736 h 50"/>
              <a:gd name="T44" fmla="*/ 401699 w 52"/>
              <a:gd name="T45" fmla="*/ 35052 h 50"/>
              <a:gd name="T46" fmla="*/ 378069 w 52"/>
              <a:gd name="T47" fmla="*/ 29210 h 50"/>
              <a:gd name="T48" fmla="*/ 354440 w 52"/>
              <a:gd name="T49" fmla="*/ 17526 h 50"/>
              <a:gd name="T50" fmla="*/ 322934 w 52"/>
              <a:gd name="T51" fmla="*/ 11684 h 50"/>
              <a:gd name="T52" fmla="*/ 275676 w 52"/>
              <a:gd name="T53" fmla="*/ 23368 h 50"/>
              <a:gd name="T54" fmla="*/ 275676 w 52"/>
              <a:gd name="T55" fmla="*/ 46736 h 50"/>
              <a:gd name="T56" fmla="*/ 228417 w 52"/>
              <a:gd name="T57" fmla="*/ 58420 h 50"/>
              <a:gd name="T58" fmla="*/ 196911 w 52"/>
              <a:gd name="T59" fmla="*/ 40894 h 50"/>
              <a:gd name="T60" fmla="*/ 173282 w 52"/>
              <a:gd name="T61" fmla="*/ 29210 h 50"/>
              <a:gd name="T62" fmla="*/ 157529 w 52"/>
              <a:gd name="T63" fmla="*/ 17526 h 50"/>
              <a:gd name="T64" fmla="*/ 102394 w 52"/>
              <a:gd name="T65" fmla="*/ 11684 h 50"/>
              <a:gd name="T66" fmla="*/ 63012 w 52"/>
              <a:gd name="T67" fmla="*/ 0 h 50"/>
              <a:gd name="T68" fmla="*/ 63012 w 52"/>
              <a:gd name="T69" fmla="*/ 11684 h 50"/>
              <a:gd name="T70" fmla="*/ 31506 w 52"/>
              <a:gd name="T71" fmla="*/ 35052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
              <a:gd name="T109" fmla="*/ 0 h 50"/>
              <a:gd name="T110" fmla="*/ 52 w 52"/>
              <a:gd name="T111" fmla="*/ 50 h 5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79" name="Freeform 1348"/>
          <p:cNvSpPr>
            <a:spLocks/>
          </p:cNvSpPr>
          <p:nvPr/>
        </p:nvSpPr>
        <p:spPr bwMode="auto">
          <a:xfrm>
            <a:off x="4628579" y="3538687"/>
            <a:ext cx="103188" cy="146050"/>
          </a:xfrm>
          <a:custGeom>
            <a:avLst/>
            <a:gdLst>
              <a:gd name="T0" fmla="*/ 23813 w 78"/>
              <a:gd name="T1" fmla="*/ 11684 h 150"/>
              <a:gd name="T2" fmla="*/ 23813 w 78"/>
              <a:gd name="T3" fmla="*/ 29210 h 150"/>
              <a:gd name="T4" fmla="*/ 23813 w 78"/>
              <a:gd name="T5" fmla="*/ 52578 h 150"/>
              <a:gd name="T6" fmla="*/ 0 w 78"/>
              <a:gd name="T7" fmla="*/ 75946 h 150"/>
              <a:gd name="T8" fmla="*/ 0 w 78"/>
              <a:gd name="T9" fmla="*/ 87630 h 150"/>
              <a:gd name="T10" fmla="*/ 15875 w 78"/>
              <a:gd name="T11" fmla="*/ 99314 h 150"/>
              <a:gd name="T12" fmla="*/ 23813 w 78"/>
              <a:gd name="T13" fmla="*/ 105156 h 150"/>
              <a:gd name="T14" fmla="*/ 47625 w 78"/>
              <a:gd name="T15" fmla="*/ 116840 h 150"/>
              <a:gd name="T16" fmla="*/ 47625 w 78"/>
              <a:gd name="T17" fmla="*/ 140208 h 150"/>
              <a:gd name="T18" fmla="*/ 55563 w 78"/>
              <a:gd name="T19" fmla="*/ 146050 h 150"/>
              <a:gd name="T20" fmla="*/ 63500 w 78"/>
              <a:gd name="T21" fmla="*/ 140208 h 150"/>
              <a:gd name="T22" fmla="*/ 71438 w 78"/>
              <a:gd name="T23" fmla="*/ 122682 h 150"/>
              <a:gd name="T24" fmla="*/ 103188 w 78"/>
              <a:gd name="T25" fmla="*/ 99314 h 150"/>
              <a:gd name="T26" fmla="*/ 103188 w 78"/>
              <a:gd name="T27" fmla="*/ 87630 h 150"/>
              <a:gd name="T28" fmla="*/ 79375 w 78"/>
              <a:gd name="T29" fmla="*/ 81788 h 150"/>
              <a:gd name="T30" fmla="*/ 55563 w 78"/>
              <a:gd name="T31" fmla="*/ 70104 h 150"/>
              <a:gd name="T32" fmla="*/ 87313 w 78"/>
              <a:gd name="T33" fmla="*/ 35052 h 150"/>
              <a:gd name="T34" fmla="*/ 79375 w 78"/>
              <a:gd name="T35" fmla="*/ 11684 h 150"/>
              <a:gd name="T36" fmla="*/ 47625 w 78"/>
              <a:gd name="T37" fmla="*/ 0 h 150"/>
              <a:gd name="T38" fmla="*/ 31750 w 78"/>
              <a:gd name="T39" fmla="*/ 0 h 150"/>
              <a:gd name="T40" fmla="*/ 31750 w 78"/>
              <a:gd name="T41" fmla="*/ 5842 h 150"/>
              <a:gd name="T42" fmla="*/ 23813 w 78"/>
              <a:gd name="T43" fmla="*/ 11684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8"/>
              <a:gd name="T67" fmla="*/ 0 h 150"/>
              <a:gd name="T68" fmla="*/ 78 w 78"/>
              <a:gd name="T69" fmla="*/ 150 h 1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80" name="Freeform 1349"/>
          <p:cNvSpPr>
            <a:spLocks/>
          </p:cNvSpPr>
          <p:nvPr/>
        </p:nvSpPr>
        <p:spPr bwMode="auto">
          <a:xfrm>
            <a:off x="4122167" y="3573612"/>
            <a:ext cx="296862" cy="169862"/>
          </a:xfrm>
          <a:custGeom>
            <a:avLst/>
            <a:gdLst>
              <a:gd name="T0" fmla="*/ 117182 w 228"/>
              <a:gd name="T1" fmla="*/ 152290 h 174"/>
              <a:gd name="T2" fmla="*/ 148431 w 228"/>
              <a:gd name="T3" fmla="*/ 134718 h 174"/>
              <a:gd name="T4" fmla="*/ 187492 w 228"/>
              <a:gd name="T5" fmla="*/ 117146 h 174"/>
              <a:gd name="T6" fmla="*/ 234365 w 228"/>
              <a:gd name="T7" fmla="*/ 105432 h 174"/>
              <a:gd name="T8" fmla="*/ 242177 w 228"/>
              <a:gd name="T9" fmla="*/ 93717 h 174"/>
              <a:gd name="T10" fmla="*/ 249989 w 228"/>
              <a:gd name="T11" fmla="*/ 82002 h 174"/>
              <a:gd name="T12" fmla="*/ 281238 w 228"/>
              <a:gd name="T13" fmla="*/ 76145 h 174"/>
              <a:gd name="T14" fmla="*/ 296862 w 228"/>
              <a:gd name="T15" fmla="*/ 70288 h 174"/>
              <a:gd name="T16" fmla="*/ 289050 w 228"/>
              <a:gd name="T17" fmla="*/ 41001 h 174"/>
              <a:gd name="T18" fmla="*/ 281238 w 228"/>
              <a:gd name="T19" fmla="*/ 11715 h 174"/>
              <a:gd name="T20" fmla="*/ 273426 w 228"/>
              <a:gd name="T21" fmla="*/ 11715 h 174"/>
              <a:gd name="T22" fmla="*/ 242177 w 228"/>
              <a:gd name="T23" fmla="*/ 11715 h 174"/>
              <a:gd name="T24" fmla="*/ 218740 w 228"/>
              <a:gd name="T25" fmla="*/ 11715 h 174"/>
              <a:gd name="T26" fmla="*/ 187492 w 228"/>
              <a:gd name="T27" fmla="*/ 0 h 174"/>
              <a:gd name="T28" fmla="*/ 156243 w 228"/>
              <a:gd name="T29" fmla="*/ 35144 h 174"/>
              <a:gd name="T30" fmla="*/ 124995 w 228"/>
              <a:gd name="T31" fmla="*/ 58573 h 174"/>
              <a:gd name="T32" fmla="*/ 93746 w 228"/>
              <a:gd name="T33" fmla="*/ 87860 h 174"/>
              <a:gd name="T34" fmla="*/ 85934 w 228"/>
              <a:gd name="T35" fmla="*/ 134718 h 174"/>
              <a:gd name="T36" fmla="*/ 15624 w 228"/>
              <a:gd name="T37" fmla="*/ 158147 h 174"/>
              <a:gd name="T38" fmla="*/ 0 w 228"/>
              <a:gd name="T39" fmla="*/ 169862 h 174"/>
              <a:gd name="T40" fmla="*/ 109370 w 228"/>
              <a:gd name="T41" fmla="*/ 169862 h 174"/>
              <a:gd name="T42" fmla="*/ 117182 w 228"/>
              <a:gd name="T43" fmla="*/ 152290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8"/>
              <a:gd name="T67" fmla="*/ 0 h 174"/>
              <a:gd name="T68" fmla="*/ 228 w 228"/>
              <a:gd name="T69" fmla="*/ 174 h 1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81" name="Freeform 1350"/>
          <p:cNvSpPr>
            <a:spLocks/>
          </p:cNvSpPr>
          <p:nvPr/>
        </p:nvSpPr>
        <p:spPr bwMode="auto">
          <a:xfrm>
            <a:off x="4033267" y="3743474"/>
            <a:ext cx="204787" cy="133350"/>
          </a:xfrm>
          <a:custGeom>
            <a:avLst/>
            <a:gdLst>
              <a:gd name="T0" fmla="*/ 102394 w 26"/>
              <a:gd name="T1" fmla="*/ 92765 h 23"/>
              <a:gd name="T2" fmla="*/ 118146 w 26"/>
              <a:gd name="T3" fmla="*/ 81170 h 23"/>
              <a:gd name="T4" fmla="*/ 126023 w 26"/>
              <a:gd name="T5" fmla="*/ 34787 h 23"/>
              <a:gd name="T6" fmla="*/ 204787 w 26"/>
              <a:gd name="T7" fmla="*/ 34787 h 23"/>
              <a:gd name="T8" fmla="*/ 204787 w 26"/>
              <a:gd name="T9" fmla="*/ 17393 h 23"/>
              <a:gd name="T10" fmla="*/ 196911 w 26"/>
              <a:gd name="T11" fmla="*/ 17393 h 23"/>
              <a:gd name="T12" fmla="*/ 196911 w 26"/>
              <a:gd name="T13" fmla="*/ 0 h 23"/>
              <a:gd name="T14" fmla="*/ 86641 w 26"/>
              <a:gd name="T15" fmla="*/ 0 h 23"/>
              <a:gd name="T16" fmla="*/ 70888 w 26"/>
              <a:gd name="T17" fmla="*/ 11596 h 23"/>
              <a:gd name="T18" fmla="*/ 31506 w 26"/>
              <a:gd name="T19" fmla="*/ 75372 h 23"/>
              <a:gd name="T20" fmla="*/ 0 w 26"/>
              <a:gd name="T21" fmla="*/ 127552 h 23"/>
              <a:gd name="T22" fmla="*/ 94517 w 26"/>
              <a:gd name="T23" fmla="*/ 133350 h 23"/>
              <a:gd name="T24" fmla="*/ 102394 w 26"/>
              <a:gd name="T25" fmla="*/ 92765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23"/>
              <a:gd name="T41" fmla="*/ 26 w 26"/>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82" name="Freeform 1351"/>
          <p:cNvSpPr>
            <a:spLocks/>
          </p:cNvSpPr>
          <p:nvPr/>
        </p:nvSpPr>
        <p:spPr bwMode="auto">
          <a:xfrm>
            <a:off x="4042792" y="4041924"/>
            <a:ext cx="61912" cy="34925"/>
          </a:xfrm>
          <a:custGeom>
            <a:avLst/>
            <a:gdLst>
              <a:gd name="T0" fmla="*/ 61912 w 48"/>
              <a:gd name="T1" fmla="*/ 23283 h 36"/>
              <a:gd name="T2" fmla="*/ 61912 w 48"/>
              <a:gd name="T3" fmla="*/ 5821 h 36"/>
              <a:gd name="T4" fmla="*/ 61912 w 48"/>
              <a:gd name="T5" fmla="*/ 0 h 36"/>
              <a:gd name="T6" fmla="*/ 46434 w 48"/>
              <a:gd name="T7" fmla="*/ 0 h 36"/>
              <a:gd name="T8" fmla="*/ 7739 w 48"/>
              <a:gd name="T9" fmla="*/ 5821 h 36"/>
              <a:gd name="T10" fmla="*/ 0 w 48"/>
              <a:gd name="T11" fmla="*/ 5821 h 36"/>
              <a:gd name="T12" fmla="*/ 23217 w 48"/>
              <a:gd name="T13" fmla="*/ 34925 h 36"/>
              <a:gd name="T14" fmla="*/ 46434 w 48"/>
              <a:gd name="T15" fmla="*/ 23283 h 36"/>
              <a:gd name="T16" fmla="*/ 61912 w 48"/>
              <a:gd name="T17" fmla="*/ 23283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36"/>
              <a:gd name="T29" fmla="*/ 48 w 48"/>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36">
                <a:moveTo>
                  <a:pt x="48" y="24"/>
                </a:moveTo>
                <a:lnTo>
                  <a:pt x="48" y="6"/>
                </a:lnTo>
                <a:lnTo>
                  <a:pt x="48" y="0"/>
                </a:lnTo>
                <a:lnTo>
                  <a:pt x="36" y="0"/>
                </a:lnTo>
                <a:lnTo>
                  <a:pt x="6" y="6"/>
                </a:lnTo>
                <a:lnTo>
                  <a:pt x="0" y="6"/>
                </a:lnTo>
                <a:lnTo>
                  <a:pt x="18" y="36"/>
                </a:lnTo>
                <a:lnTo>
                  <a:pt x="36" y="24"/>
                </a:lnTo>
                <a:lnTo>
                  <a:pt x="48" y="24"/>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83" name="Freeform 1352"/>
          <p:cNvSpPr>
            <a:spLocks/>
          </p:cNvSpPr>
          <p:nvPr/>
        </p:nvSpPr>
        <p:spPr bwMode="auto">
          <a:xfrm>
            <a:off x="4992117" y="3837137"/>
            <a:ext cx="406400" cy="374650"/>
          </a:xfrm>
          <a:custGeom>
            <a:avLst/>
            <a:gdLst>
              <a:gd name="T0" fmla="*/ 289169 w 52"/>
              <a:gd name="T1" fmla="*/ 29270 h 64"/>
              <a:gd name="T2" fmla="*/ 85969 w 52"/>
              <a:gd name="T3" fmla="*/ 29270 h 64"/>
              <a:gd name="T4" fmla="*/ 78154 w 52"/>
              <a:gd name="T5" fmla="*/ 64393 h 64"/>
              <a:gd name="T6" fmla="*/ 54708 w 52"/>
              <a:gd name="T7" fmla="*/ 64393 h 64"/>
              <a:gd name="T8" fmla="*/ 54708 w 52"/>
              <a:gd name="T9" fmla="*/ 81955 h 64"/>
              <a:gd name="T10" fmla="*/ 46892 w 52"/>
              <a:gd name="T11" fmla="*/ 76101 h 64"/>
              <a:gd name="T12" fmla="*/ 39077 w 52"/>
              <a:gd name="T13" fmla="*/ 146348 h 64"/>
              <a:gd name="T14" fmla="*/ 15631 w 52"/>
              <a:gd name="T15" fmla="*/ 158055 h 64"/>
              <a:gd name="T16" fmla="*/ 7815 w 52"/>
              <a:gd name="T17" fmla="*/ 187325 h 64"/>
              <a:gd name="T18" fmla="*/ 0 w 52"/>
              <a:gd name="T19" fmla="*/ 204887 h 64"/>
              <a:gd name="T20" fmla="*/ 23446 w 52"/>
              <a:gd name="T21" fmla="*/ 240010 h 64"/>
              <a:gd name="T22" fmla="*/ 39077 w 52"/>
              <a:gd name="T23" fmla="*/ 263426 h 64"/>
              <a:gd name="T24" fmla="*/ 62523 w 52"/>
              <a:gd name="T25" fmla="*/ 292695 h 64"/>
              <a:gd name="T26" fmla="*/ 93785 w 52"/>
              <a:gd name="T27" fmla="*/ 304403 h 64"/>
              <a:gd name="T28" fmla="*/ 140677 w 52"/>
              <a:gd name="T29" fmla="*/ 339526 h 64"/>
              <a:gd name="T30" fmla="*/ 156308 w 52"/>
              <a:gd name="T31" fmla="*/ 357088 h 64"/>
              <a:gd name="T32" fmla="*/ 195385 w 52"/>
              <a:gd name="T33" fmla="*/ 357088 h 64"/>
              <a:gd name="T34" fmla="*/ 226646 w 52"/>
              <a:gd name="T35" fmla="*/ 374650 h 64"/>
              <a:gd name="T36" fmla="*/ 281354 w 52"/>
              <a:gd name="T37" fmla="*/ 368796 h 64"/>
              <a:gd name="T38" fmla="*/ 320431 w 52"/>
              <a:gd name="T39" fmla="*/ 357088 h 64"/>
              <a:gd name="T40" fmla="*/ 343877 w 52"/>
              <a:gd name="T41" fmla="*/ 357088 h 64"/>
              <a:gd name="T42" fmla="*/ 343877 w 52"/>
              <a:gd name="T43" fmla="*/ 345380 h 64"/>
              <a:gd name="T44" fmla="*/ 328246 w 52"/>
              <a:gd name="T45" fmla="*/ 333673 h 64"/>
              <a:gd name="T46" fmla="*/ 304800 w 52"/>
              <a:gd name="T47" fmla="*/ 316111 h 64"/>
              <a:gd name="T48" fmla="*/ 273539 w 52"/>
              <a:gd name="T49" fmla="*/ 298549 h 64"/>
              <a:gd name="T50" fmla="*/ 281354 w 52"/>
              <a:gd name="T51" fmla="*/ 280987 h 64"/>
              <a:gd name="T52" fmla="*/ 296985 w 52"/>
              <a:gd name="T53" fmla="*/ 280987 h 64"/>
              <a:gd name="T54" fmla="*/ 304800 w 52"/>
              <a:gd name="T55" fmla="*/ 245864 h 64"/>
              <a:gd name="T56" fmla="*/ 336062 w 52"/>
              <a:gd name="T57" fmla="*/ 222448 h 64"/>
              <a:gd name="T58" fmla="*/ 359508 w 52"/>
              <a:gd name="T59" fmla="*/ 187325 h 64"/>
              <a:gd name="T60" fmla="*/ 367323 w 52"/>
              <a:gd name="T61" fmla="*/ 122932 h 64"/>
              <a:gd name="T62" fmla="*/ 390769 w 52"/>
              <a:gd name="T63" fmla="*/ 111224 h 64"/>
              <a:gd name="T64" fmla="*/ 406400 w 52"/>
              <a:gd name="T65" fmla="*/ 105370 h 64"/>
              <a:gd name="T66" fmla="*/ 390769 w 52"/>
              <a:gd name="T67" fmla="*/ 76101 h 64"/>
              <a:gd name="T68" fmla="*/ 367323 w 52"/>
              <a:gd name="T69" fmla="*/ 23416 h 64"/>
              <a:gd name="T70" fmla="*/ 343877 w 52"/>
              <a:gd name="T71" fmla="*/ 0 h 64"/>
              <a:gd name="T72" fmla="*/ 328246 w 52"/>
              <a:gd name="T73" fmla="*/ 11708 h 64"/>
              <a:gd name="T74" fmla="*/ 289169 w 52"/>
              <a:gd name="T75" fmla="*/ 29270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2"/>
              <a:gd name="T115" fmla="*/ 0 h 64"/>
              <a:gd name="T116" fmla="*/ 52 w 52"/>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84" name="Freeform 1353"/>
          <p:cNvSpPr>
            <a:spLocks/>
          </p:cNvSpPr>
          <p:nvPr/>
        </p:nvSpPr>
        <p:spPr bwMode="auto">
          <a:xfrm>
            <a:off x="4238054" y="4083199"/>
            <a:ext cx="149225" cy="111125"/>
          </a:xfrm>
          <a:custGeom>
            <a:avLst/>
            <a:gdLst>
              <a:gd name="T0" fmla="*/ 133517 w 19"/>
              <a:gd name="T1" fmla="*/ 58487 h 19"/>
              <a:gd name="T2" fmla="*/ 149225 w 19"/>
              <a:gd name="T3" fmla="*/ 35092 h 19"/>
              <a:gd name="T4" fmla="*/ 133517 w 19"/>
              <a:gd name="T5" fmla="*/ 11697 h 19"/>
              <a:gd name="T6" fmla="*/ 94247 w 19"/>
              <a:gd name="T7" fmla="*/ 17546 h 19"/>
              <a:gd name="T8" fmla="*/ 78539 w 19"/>
              <a:gd name="T9" fmla="*/ 5849 h 19"/>
              <a:gd name="T10" fmla="*/ 62832 w 19"/>
              <a:gd name="T11" fmla="*/ 5849 h 19"/>
              <a:gd name="T12" fmla="*/ 47124 w 19"/>
              <a:gd name="T13" fmla="*/ 0 h 19"/>
              <a:gd name="T14" fmla="*/ 39270 w 19"/>
              <a:gd name="T15" fmla="*/ 0 h 19"/>
              <a:gd name="T16" fmla="*/ 23562 w 19"/>
              <a:gd name="T17" fmla="*/ 0 h 19"/>
              <a:gd name="T18" fmla="*/ 7854 w 19"/>
              <a:gd name="T19" fmla="*/ 5849 h 19"/>
              <a:gd name="T20" fmla="*/ 15708 w 19"/>
              <a:gd name="T21" fmla="*/ 5849 h 19"/>
              <a:gd name="T22" fmla="*/ 15708 w 19"/>
              <a:gd name="T23" fmla="*/ 29243 h 19"/>
              <a:gd name="T24" fmla="*/ 15708 w 19"/>
              <a:gd name="T25" fmla="*/ 52638 h 19"/>
              <a:gd name="T26" fmla="*/ 0 w 19"/>
              <a:gd name="T27" fmla="*/ 58487 h 19"/>
              <a:gd name="T28" fmla="*/ 7854 w 19"/>
              <a:gd name="T29" fmla="*/ 64336 h 19"/>
              <a:gd name="T30" fmla="*/ 7854 w 19"/>
              <a:gd name="T31" fmla="*/ 81882 h 19"/>
              <a:gd name="T32" fmla="*/ 31416 w 19"/>
              <a:gd name="T33" fmla="*/ 93579 h 19"/>
              <a:gd name="T34" fmla="*/ 31416 w 19"/>
              <a:gd name="T35" fmla="*/ 111125 h 19"/>
              <a:gd name="T36" fmla="*/ 62832 w 19"/>
              <a:gd name="T37" fmla="*/ 111125 h 19"/>
              <a:gd name="T38" fmla="*/ 117809 w 19"/>
              <a:gd name="T39" fmla="*/ 93579 h 19"/>
              <a:gd name="T40" fmla="*/ 141371 w 19"/>
              <a:gd name="T41" fmla="*/ 93579 h 19"/>
              <a:gd name="T42" fmla="*/ 133517 w 19"/>
              <a:gd name="T43" fmla="*/ 76033 h 19"/>
              <a:gd name="T44" fmla="*/ 133517 w 19"/>
              <a:gd name="T45" fmla="*/ 58487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19"/>
              <a:gd name="T71" fmla="*/ 19 w 19"/>
              <a:gd name="T72" fmla="*/ 19 h 1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85" name="Freeform 1354"/>
          <p:cNvSpPr>
            <a:spLocks/>
          </p:cNvSpPr>
          <p:nvPr/>
        </p:nvSpPr>
        <p:spPr bwMode="auto">
          <a:xfrm>
            <a:off x="4161854" y="4124474"/>
            <a:ext cx="106363" cy="69850"/>
          </a:xfrm>
          <a:custGeom>
            <a:avLst/>
            <a:gdLst>
              <a:gd name="T0" fmla="*/ 83571 w 14"/>
              <a:gd name="T1" fmla="*/ 40746 h 12"/>
              <a:gd name="T2" fmla="*/ 83571 w 14"/>
              <a:gd name="T3" fmla="*/ 23283 h 12"/>
              <a:gd name="T4" fmla="*/ 75974 w 14"/>
              <a:gd name="T5" fmla="*/ 17463 h 12"/>
              <a:gd name="T6" fmla="*/ 60779 w 14"/>
              <a:gd name="T7" fmla="*/ 23283 h 12"/>
              <a:gd name="T8" fmla="*/ 45584 w 14"/>
              <a:gd name="T9" fmla="*/ 5821 h 12"/>
              <a:gd name="T10" fmla="*/ 30389 w 14"/>
              <a:gd name="T11" fmla="*/ 0 h 12"/>
              <a:gd name="T12" fmla="*/ 22792 w 14"/>
              <a:gd name="T13" fmla="*/ 11642 h 12"/>
              <a:gd name="T14" fmla="*/ 7597 w 14"/>
              <a:gd name="T15" fmla="*/ 17463 h 12"/>
              <a:gd name="T16" fmla="*/ 0 w 14"/>
              <a:gd name="T17" fmla="*/ 29104 h 12"/>
              <a:gd name="T18" fmla="*/ 7597 w 14"/>
              <a:gd name="T19" fmla="*/ 34925 h 12"/>
              <a:gd name="T20" fmla="*/ 75974 w 14"/>
              <a:gd name="T21" fmla="*/ 69850 h 12"/>
              <a:gd name="T22" fmla="*/ 106363 w 14"/>
              <a:gd name="T23" fmla="*/ 69850 h 12"/>
              <a:gd name="T24" fmla="*/ 106363 w 14"/>
              <a:gd name="T25" fmla="*/ 52388 h 12"/>
              <a:gd name="T26" fmla="*/ 83571 w 14"/>
              <a:gd name="T27" fmla="*/ 40746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2"/>
              <a:gd name="T44" fmla="*/ 14 w 14"/>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86" name="Freeform 1355"/>
          <p:cNvSpPr>
            <a:spLocks/>
          </p:cNvSpPr>
          <p:nvPr/>
        </p:nvSpPr>
        <p:spPr bwMode="auto">
          <a:xfrm>
            <a:off x="4112642" y="4100662"/>
            <a:ext cx="79375" cy="52387"/>
          </a:xfrm>
          <a:custGeom>
            <a:avLst/>
            <a:gdLst>
              <a:gd name="T0" fmla="*/ 71438 w 60"/>
              <a:gd name="T1" fmla="*/ 34925 h 54"/>
              <a:gd name="T2" fmla="*/ 79375 w 60"/>
              <a:gd name="T3" fmla="*/ 23283 h 54"/>
              <a:gd name="T4" fmla="*/ 71438 w 60"/>
              <a:gd name="T5" fmla="*/ 17462 h 54"/>
              <a:gd name="T6" fmla="*/ 55563 w 60"/>
              <a:gd name="T7" fmla="*/ 0 h 54"/>
              <a:gd name="T8" fmla="*/ 23813 w 60"/>
              <a:gd name="T9" fmla="*/ 0 h 54"/>
              <a:gd name="T10" fmla="*/ 15875 w 60"/>
              <a:gd name="T11" fmla="*/ 11642 h 54"/>
              <a:gd name="T12" fmla="*/ 0 w 60"/>
              <a:gd name="T13" fmla="*/ 17462 h 54"/>
              <a:gd name="T14" fmla="*/ 15875 w 60"/>
              <a:gd name="T15" fmla="*/ 29104 h 54"/>
              <a:gd name="T16" fmla="*/ 47625 w 60"/>
              <a:gd name="T17" fmla="*/ 52387 h 54"/>
              <a:gd name="T18" fmla="*/ 55563 w 60"/>
              <a:gd name="T19" fmla="*/ 40745 h 54"/>
              <a:gd name="T20" fmla="*/ 71438 w 60"/>
              <a:gd name="T21" fmla="*/ 34925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
              <a:gd name="T34" fmla="*/ 0 h 54"/>
              <a:gd name="T35" fmla="*/ 60 w 60"/>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87" name="Rectangle 1356"/>
          <p:cNvSpPr>
            <a:spLocks noChangeArrowheads="1"/>
          </p:cNvSpPr>
          <p:nvPr/>
        </p:nvSpPr>
        <p:spPr bwMode="auto">
          <a:xfrm>
            <a:off x="4228529" y="3743474"/>
            <a:ext cx="9525" cy="17463"/>
          </a:xfrm>
          <a:prstGeom prst="rect">
            <a:avLst/>
          </a:prstGeom>
          <a:solidFill>
            <a:srgbClr val="FFC000"/>
          </a:solidFill>
          <a:ln w="9525">
            <a:solidFill>
              <a:schemeClr val="bg1"/>
            </a:solidFill>
            <a:miter lim="800000"/>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88" name="Freeform 1357"/>
          <p:cNvSpPr>
            <a:spLocks/>
          </p:cNvSpPr>
          <p:nvPr/>
        </p:nvSpPr>
        <p:spPr bwMode="auto">
          <a:xfrm>
            <a:off x="4228529" y="3538687"/>
            <a:ext cx="512763" cy="379412"/>
          </a:xfrm>
          <a:custGeom>
            <a:avLst/>
            <a:gdLst>
              <a:gd name="T0" fmla="*/ 78887 w 390"/>
              <a:gd name="T1" fmla="*/ 262670 h 390"/>
              <a:gd name="T2" fmla="*/ 283992 w 390"/>
              <a:gd name="T3" fmla="*/ 367738 h 390"/>
              <a:gd name="T4" fmla="*/ 299769 w 390"/>
              <a:gd name="T5" fmla="*/ 379412 h 390"/>
              <a:gd name="T6" fmla="*/ 323435 w 390"/>
              <a:gd name="T7" fmla="*/ 379412 h 390"/>
              <a:gd name="T8" fmla="*/ 370767 w 390"/>
              <a:gd name="T9" fmla="*/ 361901 h 390"/>
              <a:gd name="T10" fmla="*/ 512763 w 390"/>
              <a:gd name="T11" fmla="*/ 291855 h 390"/>
              <a:gd name="T12" fmla="*/ 504874 w 390"/>
              <a:gd name="T13" fmla="*/ 291855 h 390"/>
              <a:gd name="T14" fmla="*/ 481208 w 390"/>
              <a:gd name="T15" fmla="*/ 268507 h 390"/>
              <a:gd name="T16" fmla="*/ 465431 w 390"/>
              <a:gd name="T17" fmla="*/ 262670 h 390"/>
              <a:gd name="T18" fmla="*/ 449654 w 390"/>
              <a:gd name="T19" fmla="*/ 239321 h 390"/>
              <a:gd name="T20" fmla="*/ 457542 w 390"/>
              <a:gd name="T21" fmla="*/ 227647 h 390"/>
              <a:gd name="T22" fmla="*/ 457542 w 390"/>
              <a:gd name="T23" fmla="*/ 169276 h 390"/>
              <a:gd name="T24" fmla="*/ 449654 w 390"/>
              <a:gd name="T25" fmla="*/ 157602 h 390"/>
              <a:gd name="T26" fmla="*/ 457542 w 390"/>
              <a:gd name="T27" fmla="*/ 145928 h 390"/>
              <a:gd name="T28" fmla="*/ 449654 w 390"/>
              <a:gd name="T29" fmla="*/ 140091 h 390"/>
              <a:gd name="T30" fmla="*/ 449654 w 390"/>
              <a:gd name="T31" fmla="*/ 116742 h 390"/>
              <a:gd name="T32" fmla="*/ 425988 w 390"/>
              <a:gd name="T33" fmla="*/ 105068 h 390"/>
              <a:gd name="T34" fmla="*/ 418099 w 390"/>
              <a:gd name="T35" fmla="*/ 99231 h 390"/>
              <a:gd name="T36" fmla="*/ 402322 w 390"/>
              <a:gd name="T37" fmla="*/ 87557 h 390"/>
              <a:gd name="T38" fmla="*/ 402322 w 390"/>
              <a:gd name="T39" fmla="*/ 75882 h 390"/>
              <a:gd name="T40" fmla="*/ 425988 w 390"/>
              <a:gd name="T41" fmla="*/ 52534 h 390"/>
              <a:gd name="T42" fmla="*/ 425988 w 390"/>
              <a:gd name="T43" fmla="*/ 29186 h 390"/>
              <a:gd name="T44" fmla="*/ 425988 w 390"/>
              <a:gd name="T45" fmla="*/ 11674 h 390"/>
              <a:gd name="T46" fmla="*/ 433876 w 390"/>
              <a:gd name="T47" fmla="*/ 5837 h 390"/>
              <a:gd name="T48" fmla="*/ 433876 w 390"/>
              <a:gd name="T49" fmla="*/ 0 h 390"/>
              <a:gd name="T50" fmla="*/ 418099 w 390"/>
              <a:gd name="T51" fmla="*/ 5837 h 390"/>
              <a:gd name="T52" fmla="*/ 378656 w 390"/>
              <a:gd name="T53" fmla="*/ 11674 h 390"/>
              <a:gd name="T54" fmla="*/ 291880 w 390"/>
              <a:gd name="T55" fmla="*/ 11674 h 390"/>
              <a:gd name="T56" fmla="*/ 212994 w 390"/>
              <a:gd name="T57" fmla="*/ 29186 h 390"/>
              <a:gd name="T58" fmla="*/ 173551 w 390"/>
              <a:gd name="T59" fmla="*/ 46697 h 390"/>
              <a:gd name="T60" fmla="*/ 181439 w 390"/>
              <a:gd name="T61" fmla="*/ 75882 h 390"/>
              <a:gd name="T62" fmla="*/ 189328 w 390"/>
              <a:gd name="T63" fmla="*/ 105068 h 390"/>
              <a:gd name="T64" fmla="*/ 173551 w 390"/>
              <a:gd name="T65" fmla="*/ 110905 h 390"/>
              <a:gd name="T66" fmla="*/ 141996 w 390"/>
              <a:gd name="T67" fmla="*/ 116742 h 390"/>
              <a:gd name="T68" fmla="*/ 134107 w 390"/>
              <a:gd name="T69" fmla="*/ 128416 h 390"/>
              <a:gd name="T70" fmla="*/ 126219 w 390"/>
              <a:gd name="T71" fmla="*/ 140091 h 390"/>
              <a:gd name="T72" fmla="*/ 78887 w 390"/>
              <a:gd name="T73" fmla="*/ 151765 h 390"/>
              <a:gd name="T74" fmla="*/ 39443 w 390"/>
              <a:gd name="T75" fmla="*/ 169276 h 390"/>
              <a:gd name="T76" fmla="*/ 7889 w 390"/>
              <a:gd name="T77" fmla="*/ 186787 h 390"/>
              <a:gd name="T78" fmla="*/ 0 w 390"/>
              <a:gd name="T79" fmla="*/ 204299 h 390"/>
              <a:gd name="T80" fmla="*/ 7889 w 390"/>
              <a:gd name="T81" fmla="*/ 204299 h 390"/>
              <a:gd name="T82" fmla="*/ 7889 w 390"/>
              <a:gd name="T83" fmla="*/ 221810 h 390"/>
              <a:gd name="T84" fmla="*/ 78887 w 390"/>
              <a:gd name="T85" fmla="*/ 262670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90"/>
              <a:gd name="T130" fmla="*/ 0 h 390"/>
              <a:gd name="T131" fmla="*/ 390 w 390"/>
              <a:gd name="T132" fmla="*/ 390 h 3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89" name="Freeform 1358"/>
          <p:cNvSpPr>
            <a:spLocks/>
          </p:cNvSpPr>
          <p:nvPr/>
        </p:nvSpPr>
        <p:spPr bwMode="auto">
          <a:xfrm>
            <a:off x="4228529" y="3538687"/>
            <a:ext cx="512763" cy="379412"/>
          </a:xfrm>
          <a:custGeom>
            <a:avLst/>
            <a:gdLst>
              <a:gd name="T0" fmla="*/ 78887 w 390"/>
              <a:gd name="T1" fmla="*/ 262670 h 390"/>
              <a:gd name="T2" fmla="*/ 283992 w 390"/>
              <a:gd name="T3" fmla="*/ 367738 h 390"/>
              <a:gd name="T4" fmla="*/ 299769 w 390"/>
              <a:gd name="T5" fmla="*/ 379412 h 390"/>
              <a:gd name="T6" fmla="*/ 323435 w 390"/>
              <a:gd name="T7" fmla="*/ 379412 h 390"/>
              <a:gd name="T8" fmla="*/ 370767 w 390"/>
              <a:gd name="T9" fmla="*/ 361901 h 390"/>
              <a:gd name="T10" fmla="*/ 512763 w 390"/>
              <a:gd name="T11" fmla="*/ 291855 h 390"/>
              <a:gd name="T12" fmla="*/ 504874 w 390"/>
              <a:gd name="T13" fmla="*/ 291855 h 390"/>
              <a:gd name="T14" fmla="*/ 481208 w 390"/>
              <a:gd name="T15" fmla="*/ 268507 h 390"/>
              <a:gd name="T16" fmla="*/ 465431 w 390"/>
              <a:gd name="T17" fmla="*/ 262670 h 390"/>
              <a:gd name="T18" fmla="*/ 449654 w 390"/>
              <a:gd name="T19" fmla="*/ 239321 h 390"/>
              <a:gd name="T20" fmla="*/ 457542 w 390"/>
              <a:gd name="T21" fmla="*/ 227647 h 390"/>
              <a:gd name="T22" fmla="*/ 457542 w 390"/>
              <a:gd name="T23" fmla="*/ 169276 h 390"/>
              <a:gd name="T24" fmla="*/ 449654 w 390"/>
              <a:gd name="T25" fmla="*/ 157602 h 390"/>
              <a:gd name="T26" fmla="*/ 457542 w 390"/>
              <a:gd name="T27" fmla="*/ 145928 h 390"/>
              <a:gd name="T28" fmla="*/ 449654 w 390"/>
              <a:gd name="T29" fmla="*/ 140091 h 390"/>
              <a:gd name="T30" fmla="*/ 449654 w 390"/>
              <a:gd name="T31" fmla="*/ 116742 h 390"/>
              <a:gd name="T32" fmla="*/ 425988 w 390"/>
              <a:gd name="T33" fmla="*/ 105068 h 390"/>
              <a:gd name="T34" fmla="*/ 418099 w 390"/>
              <a:gd name="T35" fmla="*/ 99231 h 390"/>
              <a:gd name="T36" fmla="*/ 402322 w 390"/>
              <a:gd name="T37" fmla="*/ 87557 h 390"/>
              <a:gd name="T38" fmla="*/ 402322 w 390"/>
              <a:gd name="T39" fmla="*/ 75882 h 390"/>
              <a:gd name="T40" fmla="*/ 425988 w 390"/>
              <a:gd name="T41" fmla="*/ 52534 h 390"/>
              <a:gd name="T42" fmla="*/ 425988 w 390"/>
              <a:gd name="T43" fmla="*/ 29186 h 390"/>
              <a:gd name="T44" fmla="*/ 425988 w 390"/>
              <a:gd name="T45" fmla="*/ 11674 h 390"/>
              <a:gd name="T46" fmla="*/ 433876 w 390"/>
              <a:gd name="T47" fmla="*/ 5837 h 390"/>
              <a:gd name="T48" fmla="*/ 433876 w 390"/>
              <a:gd name="T49" fmla="*/ 0 h 390"/>
              <a:gd name="T50" fmla="*/ 418099 w 390"/>
              <a:gd name="T51" fmla="*/ 5837 h 390"/>
              <a:gd name="T52" fmla="*/ 378656 w 390"/>
              <a:gd name="T53" fmla="*/ 11674 h 390"/>
              <a:gd name="T54" fmla="*/ 291880 w 390"/>
              <a:gd name="T55" fmla="*/ 11674 h 390"/>
              <a:gd name="T56" fmla="*/ 212994 w 390"/>
              <a:gd name="T57" fmla="*/ 29186 h 390"/>
              <a:gd name="T58" fmla="*/ 173551 w 390"/>
              <a:gd name="T59" fmla="*/ 46697 h 390"/>
              <a:gd name="T60" fmla="*/ 181439 w 390"/>
              <a:gd name="T61" fmla="*/ 75882 h 390"/>
              <a:gd name="T62" fmla="*/ 189328 w 390"/>
              <a:gd name="T63" fmla="*/ 105068 h 390"/>
              <a:gd name="T64" fmla="*/ 173551 w 390"/>
              <a:gd name="T65" fmla="*/ 110905 h 390"/>
              <a:gd name="T66" fmla="*/ 141996 w 390"/>
              <a:gd name="T67" fmla="*/ 116742 h 390"/>
              <a:gd name="T68" fmla="*/ 134107 w 390"/>
              <a:gd name="T69" fmla="*/ 128416 h 390"/>
              <a:gd name="T70" fmla="*/ 126219 w 390"/>
              <a:gd name="T71" fmla="*/ 140091 h 390"/>
              <a:gd name="T72" fmla="*/ 78887 w 390"/>
              <a:gd name="T73" fmla="*/ 151765 h 390"/>
              <a:gd name="T74" fmla="*/ 39443 w 390"/>
              <a:gd name="T75" fmla="*/ 169276 h 390"/>
              <a:gd name="T76" fmla="*/ 7889 w 390"/>
              <a:gd name="T77" fmla="*/ 186787 h 390"/>
              <a:gd name="T78" fmla="*/ 0 w 390"/>
              <a:gd name="T79" fmla="*/ 204299 h 390"/>
              <a:gd name="T80" fmla="*/ 7889 w 390"/>
              <a:gd name="T81" fmla="*/ 204299 h 390"/>
              <a:gd name="T82" fmla="*/ 7889 w 390"/>
              <a:gd name="T83" fmla="*/ 221810 h 390"/>
              <a:gd name="T84" fmla="*/ 78887 w 390"/>
              <a:gd name="T85" fmla="*/ 262670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90"/>
              <a:gd name="T130" fmla="*/ 0 h 390"/>
              <a:gd name="T131" fmla="*/ 390 w 390"/>
              <a:gd name="T132" fmla="*/ 390 h 3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90" name="Freeform 1359"/>
          <p:cNvSpPr>
            <a:spLocks/>
          </p:cNvSpPr>
          <p:nvPr/>
        </p:nvSpPr>
        <p:spPr bwMode="auto">
          <a:xfrm>
            <a:off x="4268217" y="3510112"/>
            <a:ext cx="9525" cy="3175"/>
          </a:xfrm>
          <a:custGeom>
            <a:avLst/>
            <a:gdLst>
              <a:gd name="T0" fmla="*/ 9525 w 6"/>
              <a:gd name="T1" fmla="*/ 0 h 6"/>
              <a:gd name="T2" fmla="*/ 0 w 6"/>
              <a:gd name="T3" fmla="*/ 0 h 6"/>
              <a:gd name="T4" fmla="*/ 0 w 6"/>
              <a:gd name="T5" fmla="*/ 3175 h 6"/>
              <a:gd name="T6" fmla="*/ 9525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6" y="0"/>
                </a:moveTo>
                <a:lnTo>
                  <a:pt x="0" y="0"/>
                </a:lnTo>
                <a:lnTo>
                  <a:pt x="0" y="6"/>
                </a:lnTo>
                <a:lnTo>
                  <a:pt x="6" y="0"/>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91" name="Freeform 1360"/>
          <p:cNvSpPr>
            <a:spLocks/>
          </p:cNvSpPr>
          <p:nvPr/>
        </p:nvSpPr>
        <p:spPr bwMode="auto">
          <a:xfrm>
            <a:off x="4285679" y="3427562"/>
            <a:ext cx="7938" cy="4762"/>
          </a:xfrm>
          <a:custGeom>
            <a:avLst/>
            <a:gdLst>
              <a:gd name="T0" fmla="*/ 0 w 6"/>
              <a:gd name="T1" fmla="*/ 0 h 6"/>
              <a:gd name="T2" fmla="*/ 0 w 6"/>
              <a:gd name="T3" fmla="*/ 0 h 6"/>
              <a:gd name="T4" fmla="*/ 7938 w 6"/>
              <a:gd name="T5" fmla="*/ 4762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0" y="0"/>
                </a:lnTo>
                <a:lnTo>
                  <a:pt x="6" y="6"/>
                </a:lnTo>
                <a:lnTo>
                  <a:pt x="0" y="0"/>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92" name="Freeform 1361"/>
          <p:cNvSpPr>
            <a:spLocks/>
          </p:cNvSpPr>
          <p:nvPr/>
        </p:nvSpPr>
        <p:spPr bwMode="auto">
          <a:xfrm>
            <a:off x="4214242" y="3378349"/>
            <a:ext cx="307975" cy="177800"/>
          </a:xfrm>
          <a:custGeom>
            <a:avLst/>
            <a:gdLst>
              <a:gd name="T0" fmla="*/ 268491 w 39"/>
              <a:gd name="T1" fmla="*/ 29633 h 30"/>
              <a:gd name="T2" fmla="*/ 252697 w 39"/>
              <a:gd name="T3" fmla="*/ 29633 h 30"/>
              <a:gd name="T4" fmla="*/ 229007 w 39"/>
              <a:gd name="T5" fmla="*/ 23707 h 30"/>
              <a:gd name="T6" fmla="*/ 213213 w 39"/>
              <a:gd name="T7" fmla="*/ 23707 h 30"/>
              <a:gd name="T8" fmla="*/ 205317 w 39"/>
              <a:gd name="T9" fmla="*/ 23707 h 30"/>
              <a:gd name="T10" fmla="*/ 197420 w 39"/>
              <a:gd name="T11" fmla="*/ 11853 h 30"/>
              <a:gd name="T12" fmla="*/ 102658 w 39"/>
              <a:gd name="T13" fmla="*/ 0 h 30"/>
              <a:gd name="T14" fmla="*/ 55278 w 39"/>
              <a:gd name="T15" fmla="*/ 5927 h 30"/>
              <a:gd name="T16" fmla="*/ 39484 w 39"/>
              <a:gd name="T17" fmla="*/ 0 h 30"/>
              <a:gd name="T18" fmla="*/ 23690 w 39"/>
              <a:gd name="T19" fmla="*/ 5927 h 30"/>
              <a:gd name="T20" fmla="*/ 0 w 39"/>
              <a:gd name="T21" fmla="*/ 17780 h 30"/>
              <a:gd name="T22" fmla="*/ 15794 w 39"/>
              <a:gd name="T23" fmla="*/ 47413 h 30"/>
              <a:gd name="T24" fmla="*/ 31587 w 39"/>
              <a:gd name="T25" fmla="*/ 35560 h 30"/>
              <a:gd name="T26" fmla="*/ 63174 w 39"/>
              <a:gd name="T27" fmla="*/ 41487 h 30"/>
              <a:gd name="T28" fmla="*/ 71071 w 39"/>
              <a:gd name="T29" fmla="*/ 47413 h 30"/>
              <a:gd name="T30" fmla="*/ 71071 w 39"/>
              <a:gd name="T31" fmla="*/ 47413 h 30"/>
              <a:gd name="T32" fmla="*/ 78968 w 39"/>
              <a:gd name="T33" fmla="*/ 53340 h 30"/>
              <a:gd name="T34" fmla="*/ 71071 w 39"/>
              <a:gd name="T35" fmla="*/ 71120 h 30"/>
              <a:gd name="T36" fmla="*/ 63174 w 39"/>
              <a:gd name="T37" fmla="*/ 100753 h 30"/>
              <a:gd name="T38" fmla="*/ 55278 w 39"/>
              <a:gd name="T39" fmla="*/ 118533 h 30"/>
              <a:gd name="T40" fmla="*/ 55278 w 39"/>
              <a:gd name="T41" fmla="*/ 130387 h 30"/>
              <a:gd name="T42" fmla="*/ 63174 w 39"/>
              <a:gd name="T43" fmla="*/ 130387 h 30"/>
              <a:gd name="T44" fmla="*/ 55278 w 39"/>
              <a:gd name="T45" fmla="*/ 136313 h 30"/>
              <a:gd name="T46" fmla="*/ 55278 w 39"/>
              <a:gd name="T47" fmla="*/ 142240 h 30"/>
              <a:gd name="T48" fmla="*/ 47381 w 39"/>
              <a:gd name="T49" fmla="*/ 160020 h 30"/>
              <a:gd name="T50" fmla="*/ 63174 w 39"/>
              <a:gd name="T51" fmla="*/ 160020 h 30"/>
              <a:gd name="T52" fmla="*/ 94762 w 39"/>
              <a:gd name="T53" fmla="*/ 177800 h 30"/>
              <a:gd name="T54" fmla="*/ 142142 w 39"/>
              <a:gd name="T55" fmla="*/ 165947 h 30"/>
              <a:gd name="T56" fmla="*/ 189523 w 39"/>
              <a:gd name="T57" fmla="*/ 160020 h 30"/>
              <a:gd name="T58" fmla="*/ 213213 w 39"/>
              <a:gd name="T59" fmla="*/ 136313 h 30"/>
              <a:gd name="T60" fmla="*/ 236904 w 39"/>
              <a:gd name="T61" fmla="*/ 112607 h 30"/>
              <a:gd name="T62" fmla="*/ 236904 w 39"/>
              <a:gd name="T63" fmla="*/ 100753 h 30"/>
              <a:gd name="T64" fmla="*/ 260594 w 39"/>
              <a:gd name="T65" fmla="*/ 65193 h 30"/>
              <a:gd name="T66" fmla="*/ 307975 w 39"/>
              <a:gd name="T67" fmla="*/ 41487 h 30"/>
              <a:gd name="T68" fmla="*/ 307975 w 39"/>
              <a:gd name="T69" fmla="*/ 35560 h 30"/>
              <a:gd name="T70" fmla="*/ 292181 w 39"/>
              <a:gd name="T71" fmla="*/ 35560 h 30"/>
              <a:gd name="T72" fmla="*/ 268491 w 39"/>
              <a:gd name="T73" fmla="*/ 29633 h 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
              <a:gd name="T112" fmla="*/ 0 h 30"/>
              <a:gd name="T113" fmla="*/ 39 w 39"/>
              <a:gd name="T114" fmla="*/ 30 h 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 h="30">
                <a:moveTo>
                  <a:pt x="34" y="5"/>
                </a:moveTo>
                <a:cubicBezTo>
                  <a:pt x="34" y="5"/>
                  <a:pt x="33" y="5"/>
                  <a:pt x="32" y="5"/>
                </a:cubicBezTo>
                <a:cubicBezTo>
                  <a:pt x="32" y="5"/>
                  <a:pt x="29" y="4"/>
                  <a:pt x="29" y="4"/>
                </a:cubicBezTo>
                <a:cubicBezTo>
                  <a:pt x="27" y="4"/>
                  <a:pt x="27" y="4"/>
                  <a:pt x="27" y="4"/>
                </a:cubicBezTo>
                <a:cubicBezTo>
                  <a:pt x="26" y="4"/>
                  <a:pt x="26" y="4"/>
                  <a:pt x="26" y="4"/>
                </a:cubicBezTo>
                <a:cubicBezTo>
                  <a:pt x="25" y="2"/>
                  <a:pt x="25" y="2"/>
                  <a:pt x="25" y="2"/>
                </a:cubicBezTo>
                <a:cubicBezTo>
                  <a:pt x="13" y="0"/>
                  <a:pt x="13" y="0"/>
                  <a:pt x="13" y="0"/>
                </a:cubicBezTo>
                <a:cubicBezTo>
                  <a:pt x="7" y="1"/>
                  <a:pt x="7" y="1"/>
                  <a:pt x="7" y="1"/>
                </a:cubicBezTo>
                <a:cubicBezTo>
                  <a:pt x="5" y="0"/>
                  <a:pt x="5" y="0"/>
                  <a:pt x="5" y="0"/>
                </a:cubicBezTo>
                <a:cubicBezTo>
                  <a:pt x="3" y="1"/>
                  <a:pt x="3" y="1"/>
                  <a:pt x="3" y="1"/>
                </a:cubicBezTo>
                <a:cubicBezTo>
                  <a:pt x="3" y="1"/>
                  <a:pt x="1" y="3"/>
                  <a:pt x="0" y="3"/>
                </a:cubicBezTo>
                <a:cubicBezTo>
                  <a:pt x="2" y="8"/>
                  <a:pt x="2" y="8"/>
                  <a:pt x="2" y="8"/>
                </a:cubicBezTo>
                <a:cubicBezTo>
                  <a:pt x="4" y="6"/>
                  <a:pt x="4" y="6"/>
                  <a:pt x="4" y="6"/>
                </a:cubicBezTo>
                <a:cubicBezTo>
                  <a:pt x="8" y="7"/>
                  <a:pt x="8" y="7"/>
                  <a:pt x="8" y="7"/>
                </a:cubicBezTo>
                <a:cubicBezTo>
                  <a:pt x="9" y="8"/>
                  <a:pt x="9" y="8"/>
                  <a:pt x="9" y="8"/>
                </a:cubicBezTo>
                <a:cubicBezTo>
                  <a:pt x="9" y="8"/>
                  <a:pt x="9" y="8"/>
                  <a:pt x="9" y="8"/>
                </a:cubicBezTo>
                <a:cubicBezTo>
                  <a:pt x="10" y="9"/>
                  <a:pt x="10" y="9"/>
                  <a:pt x="10" y="9"/>
                </a:cubicBezTo>
                <a:cubicBezTo>
                  <a:pt x="9" y="12"/>
                  <a:pt x="9" y="12"/>
                  <a:pt x="9" y="12"/>
                </a:cubicBezTo>
                <a:cubicBezTo>
                  <a:pt x="8" y="17"/>
                  <a:pt x="8" y="17"/>
                  <a:pt x="8" y="17"/>
                </a:cubicBezTo>
                <a:cubicBezTo>
                  <a:pt x="7" y="20"/>
                  <a:pt x="7" y="20"/>
                  <a:pt x="7" y="20"/>
                </a:cubicBezTo>
                <a:cubicBezTo>
                  <a:pt x="7" y="22"/>
                  <a:pt x="7" y="22"/>
                  <a:pt x="7" y="22"/>
                </a:cubicBezTo>
                <a:cubicBezTo>
                  <a:pt x="8" y="22"/>
                  <a:pt x="8" y="22"/>
                  <a:pt x="8" y="22"/>
                </a:cubicBezTo>
                <a:cubicBezTo>
                  <a:pt x="7" y="23"/>
                  <a:pt x="7" y="23"/>
                  <a:pt x="7" y="23"/>
                </a:cubicBezTo>
                <a:cubicBezTo>
                  <a:pt x="7" y="24"/>
                  <a:pt x="7" y="24"/>
                  <a:pt x="7" y="24"/>
                </a:cubicBezTo>
                <a:cubicBezTo>
                  <a:pt x="6" y="27"/>
                  <a:pt x="6" y="27"/>
                  <a:pt x="6" y="27"/>
                </a:cubicBezTo>
                <a:cubicBezTo>
                  <a:pt x="8" y="27"/>
                  <a:pt x="8" y="27"/>
                  <a:pt x="8" y="27"/>
                </a:cubicBezTo>
                <a:cubicBezTo>
                  <a:pt x="12" y="30"/>
                  <a:pt x="12" y="30"/>
                  <a:pt x="12" y="30"/>
                </a:cubicBezTo>
                <a:cubicBezTo>
                  <a:pt x="18" y="28"/>
                  <a:pt x="18" y="28"/>
                  <a:pt x="18" y="28"/>
                </a:cubicBezTo>
                <a:cubicBezTo>
                  <a:pt x="24" y="27"/>
                  <a:pt x="24" y="27"/>
                  <a:pt x="24" y="27"/>
                </a:cubicBezTo>
                <a:cubicBezTo>
                  <a:pt x="27" y="23"/>
                  <a:pt x="27" y="23"/>
                  <a:pt x="27" y="23"/>
                </a:cubicBezTo>
                <a:cubicBezTo>
                  <a:pt x="30" y="19"/>
                  <a:pt x="30" y="19"/>
                  <a:pt x="30" y="19"/>
                </a:cubicBezTo>
                <a:cubicBezTo>
                  <a:pt x="30" y="17"/>
                  <a:pt x="30" y="17"/>
                  <a:pt x="30" y="17"/>
                </a:cubicBezTo>
                <a:cubicBezTo>
                  <a:pt x="33" y="11"/>
                  <a:pt x="33" y="11"/>
                  <a:pt x="33" y="11"/>
                </a:cubicBezTo>
                <a:cubicBezTo>
                  <a:pt x="39" y="7"/>
                  <a:pt x="39" y="7"/>
                  <a:pt x="39" y="7"/>
                </a:cubicBezTo>
                <a:cubicBezTo>
                  <a:pt x="39" y="6"/>
                  <a:pt x="39" y="6"/>
                  <a:pt x="39" y="6"/>
                </a:cubicBezTo>
                <a:cubicBezTo>
                  <a:pt x="37" y="6"/>
                  <a:pt x="37" y="6"/>
                  <a:pt x="37" y="6"/>
                </a:cubicBezTo>
                <a:lnTo>
                  <a:pt x="34" y="5"/>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93" name="Freeform 1362"/>
          <p:cNvSpPr>
            <a:spLocks/>
          </p:cNvSpPr>
          <p:nvPr/>
        </p:nvSpPr>
        <p:spPr bwMode="auto">
          <a:xfrm>
            <a:off x="4214242" y="3413274"/>
            <a:ext cx="79375" cy="125413"/>
          </a:xfrm>
          <a:custGeom>
            <a:avLst/>
            <a:gdLst>
              <a:gd name="T0" fmla="*/ 55563 w 60"/>
              <a:gd name="T1" fmla="*/ 101713 h 127"/>
              <a:gd name="T2" fmla="*/ 55563 w 60"/>
              <a:gd name="T3" fmla="*/ 95788 h 127"/>
              <a:gd name="T4" fmla="*/ 55563 w 60"/>
              <a:gd name="T5" fmla="*/ 95788 h 127"/>
              <a:gd name="T6" fmla="*/ 55563 w 60"/>
              <a:gd name="T7" fmla="*/ 83938 h 127"/>
              <a:gd name="T8" fmla="*/ 63500 w 60"/>
              <a:gd name="T9" fmla="*/ 72088 h 127"/>
              <a:gd name="T10" fmla="*/ 63500 w 60"/>
              <a:gd name="T11" fmla="*/ 66163 h 127"/>
              <a:gd name="T12" fmla="*/ 63500 w 60"/>
              <a:gd name="T13" fmla="*/ 48388 h 127"/>
              <a:gd name="T14" fmla="*/ 71438 w 60"/>
              <a:gd name="T15" fmla="*/ 42463 h 127"/>
              <a:gd name="T16" fmla="*/ 71438 w 60"/>
              <a:gd name="T17" fmla="*/ 30613 h 127"/>
              <a:gd name="T18" fmla="*/ 79375 w 60"/>
              <a:gd name="T19" fmla="*/ 18763 h 127"/>
              <a:gd name="T20" fmla="*/ 71438 w 60"/>
              <a:gd name="T21" fmla="*/ 12838 h 127"/>
              <a:gd name="T22" fmla="*/ 63500 w 60"/>
              <a:gd name="T23" fmla="*/ 5925 h 127"/>
              <a:gd name="T24" fmla="*/ 39688 w 60"/>
              <a:gd name="T25" fmla="*/ 0 h 127"/>
              <a:gd name="T26" fmla="*/ 23813 w 60"/>
              <a:gd name="T27" fmla="*/ 5925 h 127"/>
              <a:gd name="T28" fmla="*/ 15875 w 60"/>
              <a:gd name="T29" fmla="*/ 12838 h 127"/>
              <a:gd name="T30" fmla="*/ 15875 w 60"/>
              <a:gd name="T31" fmla="*/ 12838 h 127"/>
              <a:gd name="T32" fmla="*/ 7938 w 60"/>
              <a:gd name="T33" fmla="*/ 12838 h 127"/>
              <a:gd name="T34" fmla="*/ 15875 w 60"/>
              <a:gd name="T35" fmla="*/ 36538 h 127"/>
              <a:gd name="T36" fmla="*/ 15875 w 60"/>
              <a:gd name="T37" fmla="*/ 60238 h 127"/>
              <a:gd name="T38" fmla="*/ 0 w 60"/>
              <a:gd name="T39" fmla="*/ 89863 h 127"/>
              <a:gd name="T40" fmla="*/ 15875 w 60"/>
              <a:gd name="T41" fmla="*/ 95788 h 127"/>
              <a:gd name="T42" fmla="*/ 15875 w 60"/>
              <a:gd name="T43" fmla="*/ 125413 h 127"/>
              <a:gd name="T44" fmla="*/ 47625 w 60"/>
              <a:gd name="T45" fmla="*/ 125413 h 127"/>
              <a:gd name="T46" fmla="*/ 55563 w 60"/>
              <a:gd name="T47" fmla="*/ 113563 h 127"/>
              <a:gd name="T48" fmla="*/ 55563 w 60"/>
              <a:gd name="T49" fmla="*/ 101713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127"/>
              <a:gd name="T77" fmla="*/ 60 w 60"/>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127">
                <a:moveTo>
                  <a:pt x="42" y="103"/>
                </a:moveTo>
                <a:lnTo>
                  <a:pt x="42" y="97"/>
                </a:lnTo>
                <a:lnTo>
                  <a:pt x="42" y="85"/>
                </a:lnTo>
                <a:lnTo>
                  <a:pt x="48" y="73"/>
                </a:lnTo>
                <a:lnTo>
                  <a:pt x="48" y="67"/>
                </a:lnTo>
                <a:lnTo>
                  <a:pt x="48" y="49"/>
                </a:lnTo>
                <a:lnTo>
                  <a:pt x="54" y="43"/>
                </a:lnTo>
                <a:lnTo>
                  <a:pt x="54" y="31"/>
                </a:lnTo>
                <a:lnTo>
                  <a:pt x="60" y="19"/>
                </a:lnTo>
                <a:lnTo>
                  <a:pt x="54" y="13"/>
                </a:lnTo>
                <a:lnTo>
                  <a:pt x="48" y="6"/>
                </a:lnTo>
                <a:lnTo>
                  <a:pt x="30" y="0"/>
                </a:lnTo>
                <a:lnTo>
                  <a:pt x="18" y="6"/>
                </a:lnTo>
                <a:lnTo>
                  <a:pt x="12" y="13"/>
                </a:lnTo>
                <a:lnTo>
                  <a:pt x="6" y="13"/>
                </a:lnTo>
                <a:lnTo>
                  <a:pt x="12" y="37"/>
                </a:lnTo>
                <a:lnTo>
                  <a:pt x="12" y="61"/>
                </a:lnTo>
                <a:lnTo>
                  <a:pt x="0" y="91"/>
                </a:lnTo>
                <a:lnTo>
                  <a:pt x="12" y="97"/>
                </a:lnTo>
                <a:lnTo>
                  <a:pt x="12" y="127"/>
                </a:lnTo>
                <a:lnTo>
                  <a:pt x="36" y="127"/>
                </a:lnTo>
                <a:lnTo>
                  <a:pt x="42" y="115"/>
                </a:lnTo>
                <a:lnTo>
                  <a:pt x="42" y="103"/>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94" name="Freeform 1363"/>
          <p:cNvSpPr>
            <a:spLocks/>
          </p:cNvSpPr>
          <p:nvPr/>
        </p:nvSpPr>
        <p:spPr bwMode="auto">
          <a:xfrm>
            <a:off x="4277742" y="3432324"/>
            <a:ext cx="15875" cy="47625"/>
          </a:xfrm>
          <a:custGeom>
            <a:avLst/>
            <a:gdLst>
              <a:gd name="T0" fmla="*/ 7938 w 12"/>
              <a:gd name="T1" fmla="*/ 23813 h 48"/>
              <a:gd name="T2" fmla="*/ 0 w 12"/>
              <a:gd name="T3" fmla="*/ 29766 h 48"/>
              <a:gd name="T4" fmla="*/ 0 w 12"/>
              <a:gd name="T5" fmla="*/ 47625 h 48"/>
              <a:gd name="T6" fmla="*/ 7938 w 12"/>
              <a:gd name="T7" fmla="*/ 17859 h 48"/>
              <a:gd name="T8" fmla="*/ 15875 w 12"/>
              <a:gd name="T9" fmla="*/ 0 h 48"/>
              <a:gd name="T10" fmla="*/ 7938 w 12"/>
              <a:gd name="T11" fmla="*/ 11906 h 48"/>
              <a:gd name="T12" fmla="*/ 7938 w 12"/>
              <a:gd name="T13" fmla="*/ 23813 h 48"/>
              <a:gd name="T14" fmla="*/ 0 60000 65536"/>
              <a:gd name="T15" fmla="*/ 0 60000 65536"/>
              <a:gd name="T16" fmla="*/ 0 60000 65536"/>
              <a:gd name="T17" fmla="*/ 0 60000 65536"/>
              <a:gd name="T18" fmla="*/ 0 60000 65536"/>
              <a:gd name="T19" fmla="*/ 0 60000 65536"/>
              <a:gd name="T20" fmla="*/ 0 60000 65536"/>
              <a:gd name="T21" fmla="*/ 0 w 12"/>
              <a:gd name="T22" fmla="*/ 0 h 48"/>
              <a:gd name="T23" fmla="*/ 12 w 12"/>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48">
                <a:moveTo>
                  <a:pt x="6" y="24"/>
                </a:moveTo>
                <a:lnTo>
                  <a:pt x="0" y="30"/>
                </a:lnTo>
                <a:lnTo>
                  <a:pt x="0" y="48"/>
                </a:lnTo>
                <a:lnTo>
                  <a:pt x="6" y="18"/>
                </a:lnTo>
                <a:lnTo>
                  <a:pt x="12" y="0"/>
                </a:lnTo>
                <a:lnTo>
                  <a:pt x="6" y="12"/>
                </a:lnTo>
                <a:lnTo>
                  <a:pt x="6" y="24"/>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95" name="Freeform 1364"/>
          <p:cNvSpPr>
            <a:spLocks/>
          </p:cNvSpPr>
          <p:nvPr/>
        </p:nvSpPr>
        <p:spPr bwMode="auto">
          <a:xfrm>
            <a:off x="4263454" y="3513287"/>
            <a:ext cx="4763" cy="25400"/>
          </a:xfrm>
          <a:custGeom>
            <a:avLst/>
            <a:gdLst>
              <a:gd name="T0" fmla="*/ 4763 w 6"/>
              <a:gd name="T1" fmla="*/ 0 h 24"/>
              <a:gd name="T2" fmla="*/ 4763 w 6"/>
              <a:gd name="T3" fmla="*/ 12700 h 24"/>
              <a:gd name="T4" fmla="*/ 0 w 6"/>
              <a:gd name="T5" fmla="*/ 25400 h 24"/>
              <a:gd name="T6" fmla="*/ 4763 w 6"/>
              <a:gd name="T7" fmla="*/ 6350 h 24"/>
              <a:gd name="T8" fmla="*/ 4763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6" y="0"/>
                </a:moveTo>
                <a:lnTo>
                  <a:pt x="6" y="12"/>
                </a:lnTo>
                <a:lnTo>
                  <a:pt x="0" y="24"/>
                </a:lnTo>
                <a:lnTo>
                  <a:pt x="6" y="6"/>
                </a:lnTo>
                <a:lnTo>
                  <a:pt x="6" y="0"/>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96" name="Freeform 1365"/>
          <p:cNvSpPr>
            <a:spLocks/>
          </p:cNvSpPr>
          <p:nvPr/>
        </p:nvSpPr>
        <p:spPr bwMode="auto">
          <a:xfrm>
            <a:off x="4268217" y="3479949"/>
            <a:ext cx="9525" cy="17463"/>
          </a:xfrm>
          <a:custGeom>
            <a:avLst/>
            <a:gdLst>
              <a:gd name="T0" fmla="*/ 0 w 6"/>
              <a:gd name="T1" fmla="*/ 17463 h 18"/>
              <a:gd name="T2" fmla="*/ 9525 w 6"/>
              <a:gd name="T3" fmla="*/ 0 h 18"/>
              <a:gd name="T4" fmla="*/ 9525 w 6"/>
              <a:gd name="T5" fmla="*/ 11642 h 18"/>
              <a:gd name="T6" fmla="*/ 0 w 6"/>
              <a:gd name="T7" fmla="*/ 17463 h 18"/>
              <a:gd name="T8" fmla="*/ 0 60000 65536"/>
              <a:gd name="T9" fmla="*/ 0 60000 65536"/>
              <a:gd name="T10" fmla="*/ 0 60000 65536"/>
              <a:gd name="T11" fmla="*/ 0 60000 65536"/>
              <a:gd name="T12" fmla="*/ 0 w 6"/>
              <a:gd name="T13" fmla="*/ 0 h 18"/>
              <a:gd name="T14" fmla="*/ 6 w 6"/>
              <a:gd name="T15" fmla="*/ 18 h 18"/>
            </a:gdLst>
            <a:ahLst/>
            <a:cxnLst>
              <a:cxn ang="T8">
                <a:pos x="T0" y="T1"/>
              </a:cxn>
              <a:cxn ang="T9">
                <a:pos x="T2" y="T3"/>
              </a:cxn>
              <a:cxn ang="T10">
                <a:pos x="T4" y="T5"/>
              </a:cxn>
              <a:cxn ang="T11">
                <a:pos x="T6" y="T7"/>
              </a:cxn>
            </a:cxnLst>
            <a:rect l="T12" t="T13" r="T14" b="T15"/>
            <a:pathLst>
              <a:path w="6" h="18">
                <a:moveTo>
                  <a:pt x="0" y="18"/>
                </a:moveTo>
                <a:lnTo>
                  <a:pt x="6" y="0"/>
                </a:lnTo>
                <a:lnTo>
                  <a:pt x="6" y="12"/>
                </a:lnTo>
                <a:lnTo>
                  <a:pt x="0" y="18"/>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97" name="Freeform 1366"/>
          <p:cNvSpPr>
            <a:spLocks/>
          </p:cNvSpPr>
          <p:nvPr/>
        </p:nvSpPr>
        <p:spPr bwMode="auto">
          <a:xfrm>
            <a:off x="4268217" y="3497412"/>
            <a:ext cx="0" cy="12700"/>
          </a:xfrm>
          <a:custGeom>
            <a:avLst/>
            <a:gdLst>
              <a:gd name="T0" fmla="*/ 12700 h 12"/>
              <a:gd name="T1" fmla="*/ 0 h 12"/>
              <a:gd name="T2" fmla="*/ 12700 h 12"/>
              <a:gd name="T3" fmla="*/ 12700 h 12"/>
              <a:gd name="T4" fmla="*/ 0 60000 65536"/>
              <a:gd name="T5" fmla="*/ 0 60000 65536"/>
              <a:gd name="T6" fmla="*/ 0 60000 65536"/>
              <a:gd name="T7" fmla="*/ 0 60000 65536"/>
              <a:gd name="T8" fmla="*/ 0 h 12"/>
              <a:gd name="T9" fmla="*/ 12 h 12"/>
            </a:gdLst>
            <a:ahLst/>
            <a:cxnLst>
              <a:cxn ang="T4">
                <a:pos x="0" y="T0"/>
              </a:cxn>
              <a:cxn ang="T5">
                <a:pos x="0" y="T1"/>
              </a:cxn>
              <a:cxn ang="T6">
                <a:pos x="0" y="T2"/>
              </a:cxn>
              <a:cxn ang="T7">
                <a:pos x="0" y="T3"/>
              </a:cxn>
            </a:cxnLst>
            <a:rect l="0" t="T8" r="0" b="T9"/>
            <a:pathLst>
              <a:path h="12">
                <a:moveTo>
                  <a:pt x="0" y="12"/>
                </a:moveTo>
                <a:lnTo>
                  <a:pt x="0" y="0"/>
                </a:lnTo>
                <a:lnTo>
                  <a:pt x="0" y="12"/>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98" name="Freeform 1367"/>
          <p:cNvSpPr>
            <a:spLocks/>
          </p:cNvSpPr>
          <p:nvPr/>
        </p:nvSpPr>
        <p:spPr bwMode="auto">
          <a:xfrm>
            <a:off x="5689029" y="3532337"/>
            <a:ext cx="25400" cy="12700"/>
          </a:xfrm>
          <a:custGeom>
            <a:avLst/>
            <a:gdLst>
              <a:gd name="T0" fmla="*/ 0 w 18"/>
              <a:gd name="T1" fmla="*/ 0 h 12"/>
              <a:gd name="T2" fmla="*/ 25400 w 18"/>
              <a:gd name="T3" fmla="*/ 12700 h 12"/>
              <a:gd name="T4" fmla="*/ 25400 w 18"/>
              <a:gd name="T5" fmla="*/ 12700 h 12"/>
              <a:gd name="T6" fmla="*/ 8467 w 18"/>
              <a:gd name="T7" fmla="*/ 0 h 12"/>
              <a:gd name="T8" fmla="*/ 0 w 18"/>
              <a:gd name="T9" fmla="*/ 0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0"/>
                </a:moveTo>
                <a:lnTo>
                  <a:pt x="18" y="12"/>
                </a:lnTo>
                <a:lnTo>
                  <a:pt x="6" y="0"/>
                </a:lnTo>
                <a:lnTo>
                  <a:pt x="0" y="0"/>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299" name="Freeform 1368"/>
          <p:cNvSpPr>
            <a:spLocks/>
          </p:cNvSpPr>
          <p:nvPr/>
        </p:nvSpPr>
        <p:spPr bwMode="auto">
          <a:xfrm>
            <a:off x="5652517" y="3503762"/>
            <a:ext cx="14287" cy="17462"/>
          </a:xfrm>
          <a:custGeom>
            <a:avLst/>
            <a:gdLst>
              <a:gd name="T0" fmla="*/ 0 w 12"/>
              <a:gd name="T1" fmla="*/ 0 h 18"/>
              <a:gd name="T2" fmla="*/ 14287 w 12"/>
              <a:gd name="T3" fmla="*/ 17462 h 18"/>
              <a:gd name="T4" fmla="*/ 14287 w 12"/>
              <a:gd name="T5" fmla="*/ 11641 h 18"/>
              <a:gd name="T6" fmla="*/ 0 w 12"/>
              <a:gd name="T7" fmla="*/ 0 h 18"/>
              <a:gd name="T8" fmla="*/ 0 60000 65536"/>
              <a:gd name="T9" fmla="*/ 0 60000 65536"/>
              <a:gd name="T10" fmla="*/ 0 60000 65536"/>
              <a:gd name="T11" fmla="*/ 0 60000 65536"/>
              <a:gd name="T12" fmla="*/ 0 w 12"/>
              <a:gd name="T13" fmla="*/ 0 h 18"/>
              <a:gd name="T14" fmla="*/ 12 w 12"/>
              <a:gd name="T15" fmla="*/ 18 h 18"/>
            </a:gdLst>
            <a:ahLst/>
            <a:cxnLst>
              <a:cxn ang="T8">
                <a:pos x="T0" y="T1"/>
              </a:cxn>
              <a:cxn ang="T9">
                <a:pos x="T2" y="T3"/>
              </a:cxn>
              <a:cxn ang="T10">
                <a:pos x="T4" y="T5"/>
              </a:cxn>
              <a:cxn ang="T11">
                <a:pos x="T6" y="T7"/>
              </a:cxn>
            </a:cxnLst>
            <a:rect l="T12" t="T13" r="T14" b="T15"/>
            <a:pathLst>
              <a:path w="12" h="18">
                <a:moveTo>
                  <a:pt x="0" y="0"/>
                </a:moveTo>
                <a:lnTo>
                  <a:pt x="12" y="18"/>
                </a:lnTo>
                <a:lnTo>
                  <a:pt x="12" y="12"/>
                </a:lnTo>
                <a:lnTo>
                  <a:pt x="0" y="0"/>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00" name="Freeform 1369"/>
          <p:cNvSpPr>
            <a:spLocks/>
          </p:cNvSpPr>
          <p:nvPr/>
        </p:nvSpPr>
        <p:spPr bwMode="auto">
          <a:xfrm>
            <a:off x="6938392" y="3865712"/>
            <a:ext cx="179387" cy="217487"/>
          </a:xfrm>
          <a:custGeom>
            <a:avLst/>
            <a:gdLst>
              <a:gd name="T0" fmla="*/ 132590 w 138"/>
              <a:gd name="T1" fmla="*/ 199932 h 223"/>
              <a:gd name="T2" fmla="*/ 155989 w 138"/>
              <a:gd name="T3" fmla="*/ 194080 h 223"/>
              <a:gd name="T4" fmla="*/ 179387 w 138"/>
              <a:gd name="T5" fmla="*/ 182377 h 223"/>
              <a:gd name="T6" fmla="*/ 179387 w 138"/>
              <a:gd name="T7" fmla="*/ 147267 h 223"/>
              <a:gd name="T8" fmla="*/ 179387 w 138"/>
              <a:gd name="T9" fmla="*/ 117033 h 223"/>
              <a:gd name="T10" fmla="*/ 155989 w 138"/>
              <a:gd name="T11" fmla="*/ 99478 h 223"/>
              <a:gd name="T12" fmla="*/ 124791 w 138"/>
              <a:gd name="T13" fmla="*/ 70220 h 223"/>
              <a:gd name="T14" fmla="*/ 101393 w 138"/>
              <a:gd name="T15" fmla="*/ 46813 h 223"/>
              <a:gd name="T16" fmla="*/ 109192 w 138"/>
              <a:gd name="T17" fmla="*/ 35110 h 223"/>
              <a:gd name="T18" fmla="*/ 101393 w 138"/>
              <a:gd name="T19" fmla="*/ 23407 h 223"/>
              <a:gd name="T20" fmla="*/ 77994 w 138"/>
              <a:gd name="T21" fmla="*/ 17555 h 223"/>
              <a:gd name="T22" fmla="*/ 62395 w 138"/>
              <a:gd name="T23" fmla="*/ 0 h 223"/>
              <a:gd name="T24" fmla="*/ 54596 w 138"/>
              <a:gd name="T25" fmla="*/ 0 h 223"/>
              <a:gd name="T26" fmla="*/ 15599 w 138"/>
              <a:gd name="T27" fmla="*/ 5852 h 223"/>
              <a:gd name="T28" fmla="*/ 0 w 138"/>
              <a:gd name="T29" fmla="*/ 23407 h 223"/>
              <a:gd name="T30" fmla="*/ 0 w 138"/>
              <a:gd name="T31" fmla="*/ 23407 h 223"/>
              <a:gd name="T32" fmla="*/ 7799 w 138"/>
              <a:gd name="T33" fmla="*/ 35110 h 223"/>
              <a:gd name="T34" fmla="*/ 15599 w 138"/>
              <a:gd name="T35" fmla="*/ 70220 h 223"/>
              <a:gd name="T36" fmla="*/ 70195 w 138"/>
              <a:gd name="T37" fmla="*/ 70220 h 223"/>
              <a:gd name="T38" fmla="*/ 93593 w 138"/>
              <a:gd name="T39" fmla="*/ 76072 h 223"/>
              <a:gd name="T40" fmla="*/ 132590 w 138"/>
              <a:gd name="T41" fmla="*/ 122885 h 223"/>
              <a:gd name="T42" fmla="*/ 124791 w 138"/>
              <a:gd name="T43" fmla="*/ 141415 h 223"/>
              <a:gd name="T44" fmla="*/ 77994 w 138"/>
              <a:gd name="T45" fmla="*/ 147267 h 223"/>
              <a:gd name="T46" fmla="*/ 54596 w 138"/>
              <a:gd name="T47" fmla="*/ 158970 h 223"/>
              <a:gd name="T48" fmla="*/ 54596 w 138"/>
              <a:gd name="T49" fmla="*/ 182377 h 223"/>
              <a:gd name="T50" fmla="*/ 93593 w 138"/>
              <a:gd name="T51" fmla="*/ 211635 h 223"/>
              <a:gd name="T52" fmla="*/ 109192 w 138"/>
              <a:gd name="T53" fmla="*/ 217487 h 223"/>
              <a:gd name="T54" fmla="*/ 124791 w 138"/>
              <a:gd name="T55" fmla="*/ 211635 h 223"/>
              <a:gd name="T56" fmla="*/ 132590 w 138"/>
              <a:gd name="T57" fmla="*/ 199932 h 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8"/>
              <a:gd name="T88" fmla="*/ 0 h 223"/>
              <a:gd name="T89" fmla="*/ 138 w 138"/>
              <a:gd name="T90" fmla="*/ 223 h 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8" h="223">
                <a:moveTo>
                  <a:pt x="102" y="205"/>
                </a:moveTo>
                <a:lnTo>
                  <a:pt x="120" y="199"/>
                </a:lnTo>
                <a:lnTo>
                  <a:pt x="138" y="187"/>
                </a:lnTo>
                <a:lnTo>
                  <a:pt x="138" y="151"/>
                </a:lnTo>
                <a:lnTo>
                  <a:pt x="138" y="120"/>
                </a:lnTo>
                <a:lnTo>
                  <a:pt x="120" y="102"/>
                </a:lnTo>
                <a:lnTo>
                  <a:pt x="96" y="72"/>
                </a:lnTo>
                <a:lnTo>
                  <a:pt x="78" y="48"/>
                </a:lnTo>
                <a:lnTo>
                  <a:pt x="84" y="36"/>
                </a:lnTo>
                <a:lnTo>
                  <a:pt x="78" y="24"/>
                </a:lnTo>
                <a:lnTo>
                  <a:pt x="60" y="18"/>
                </a:lnTo>
                <a:lnTo>
                  <a:pt x="48" y="0"/>
                </a:lnTo>
                <a:lnTo>
                  <a:pt x="42" y="0"/>
                </a:lnTo>
                <a:lnTo>
                  <a:pt x="12" y="6"/>
                </a:lnTo>
                <a:lnTo>
                  <a:pt x="0" y="24"/>
                </a:lnTo>
                <a:lnTo>
                  <a:pt x="6" y="36"/>
                </a:lnTo>
                <a:lnTo>
                  <a:pt x="12" y="72"/>
                </a:lnTo>
                <a:lnTo>
                  <a:pt x="54" y="72"/>
                </a:lnTo>
                <a:lnTo>
                  <a:pt x="72" y="78"/>
                </a:lnTo>
                <a:lnTo>
                  <a:pt x="102" y="126"/>
                </a:lnTo>
                <a:lnTo>
                  <a:pt x="96" y="145"/>
                </a:lnTo>
                <a:lnTo>
                  <a:pt x="60" y="151"/>
                </a:lnTo>
                <a:lnTo>
                  <a:pt x="42" y="163"/>
                </a:lnTo>
                <a:lnTo>
                  <a:pt x="42" y="187"/>
                </a:lnTo>
                <a:lnTo>
                  <a:pt x="72" y="217"/>
                </a:lnTo>
                <a:lnTo>
                  <a:pt x="84" y="223"/>
                </a:lnTo>
                <a:lnTo>
                  <a:pt x="96" y="217"/>
                </a:lnTo>
                <a:lnTo>
                  <a:pt x="102" y="205"/>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01" name="Freeform 1370"/>
          <p:cNvSpPr>
            <a:spLocks/>
          </p:cNvSpPr>
          <p:nvPr/>
        </p:nvSpPr>
        <p:spPr bwMode="auto">
          <a:xfrm>
            <a:off x="6993954" y="3840312"/>
            <a:ext cx="180975" cy="266700"/>
          </a:xfrm>
          <a:custGeom>
            <a:avLst/>
            <a:gdLst>
              <a:gd name="T0" fmla="*/ 86553 w 138"/>
              <a:gd name="T1" fmla="*/ 0 h 271"/>
              <a:gd name="T2" fmla="*/ 7868 w 138"/>
              <a:gd name="T3" fmla="*/ 0 h 271"/>
              <a:gd name="T4" fmla="*/ 0 w 138"/>
              <a:gd name="T5" fmla="*/ 23619 h 271"/>
              <a:gd name="T6" fmla="*/ 7868 w 138"/>
              <a:gd name="T7" fmla="*/ 23619 h 271"/>
              <a:gd name="T8" fmla="*/ 23605 w 138"/>
              <a:gd name="T9" fmla="*/ 41334 h 271"/>
              <a:gd name="T10" fmla="*/ 47211 w 138"/>
              <a:gd name="T11" fmla="*/ 47238 h 271"/>
              <a:gd name="T12" fmla="*/ 55079 w 138"/>
              <a:gd name="T13" fmla="*/ 59048 h 271"/>
              <a:gd name="T14" fmla="*/ 47211 w 138"/>
              <a:gd name="T15" fmla="*/ 70858 h 271"/>
              <a:gd name="T16" fmla="*/ 70816 w 138"/>
              <a:gd name="T17" fmla="*/ 94477 h 271"/>
              <a:gd name="T18" fmla="*/ 102290 w 138"/>
              <a:gd name="T19" fmla="*/ 124001 h 271"/>
              <a:gd name="T20" fmla="*/ 125896 w 138"/>
              <a:gd name="T21" fmla="*/ 141715 h 271"/>
              <a:gd name="T22" fmla="*/ 125896 w 138"/>
              <a:gd name="T23" fmla="*/ 172223 h 271"/>
              <a:gd name="T24" fmla="*/ 125896 w 138"/>
              <a:gd name="T25" fmla="*/ 207652 h 271"/>
              <a:gd name="T26" fmla="*/ 102290 w 138"/>
              <a:gd name="T27" fmla="*/ 219462 h 271"/>
              <a:gd name="T28" fmla="*/ 78685 w 138"/>
              <a:gd name="T29" fmla="*/ 225366 h 271"/>
              <a:gd name="T30" fmla="*/ 70816 w 138"/>
              <a:gd name="T31" fmla="*/ 237176 h 271"/>
              <a:gd name="T32" fmla="*/ 55079 w 138"/>
              <a:gd name="T33" fmla="*/ 243081 h 271"/>
              <a:gd name="T34" fmla="*/ 62948 w 138"/>
              <a:gd name="T35" fmla="*/ 248986 h 271"/>
              <a:gd name="T36" fmla="*/ 86553 w 138"/>
              <a:gd name="T37" fmla="*/ 266700 h 271"/>
              <a:gd name="T38" fmla="*/ 141633 w 138"/>
              <a:gd name="T39" fmla="*/ 237176 h 271"/>
              <a:gd name="T40" fmla="*/ 180975 w 138"/>
              <a:gd name="T41" fmla="*/ 207652 h 271"/>
              <a:gd name="T42" fmla="*/ 149501 w 138"/>
              <a:gd name="T43" fmla="*/ 129906 h 271"/>
              <a:gd name="T44" fmla="*/ 133764 w 138"/>
              <a:gd name="T45" fmla="*/ 112191 h 271"/>
              <a:gd name="T46" fmla="*/ 102290 w 138"/>
              <a:gd name="T47" fmla="*/ 82667 h 271"/>
              <a:gd name="T48" fmla="*/ 86553 w 138"/>
              <a:gd name="T49" fmla="*/ 59048 h 271"/>
              <a:gd name="T50" fmla="*/ 102290 w 138"/>
              <a:gd name="T51" fmla="*/ 47238 h 271"/>
              <a:gd name="T52" fmla="*/ 125896 w 138"/>
              <a:gd name="T53" fmla="*/ 35429 h 271"/>
              <a:gd name="T54" fmla="*/ 118027 w 138"/>
              <a:gd name="T55" fmla="*/ 17714 h 271"/>
              <a:gd name="T56" fmla="*/ 86553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8"/>
              <a:gd name="T88" fmla="*/ 0 h 271"/>
              <a:gd name="T89" fmla="*/ 138 w 138"/>
              <a:gd name="T90" fmla="*/ 271 h 2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02" name="Freeform 1371"/>
          <p:cNvSpPr>
            <a:spLocks/>
          </p:cNvSpPr>
          <p:nvPr/>
        </p:nvSpPr>
        <p:spPr bwMode="auto">
          <a:xfrm>
            <a:off x="6435154" y="3695849"/>
            <a:ext cx="196850" cy="69850"/>
          </a:xfrm>
          <a:custGeom>
            <a:avLst/>
            <a:gdLst>
              <a:gd name="T0" fmla="*/ 133858 w 150"/>
              <a:gd name="T1" fmla="*/ 34925 h 72"/>
              <a:gd name="T2" fmla="*/ 86614 w 150"/>
              <a:gd name="T3" fmla="*/ 17463 h 72"/>
              <a:gd name="T4" fmla="*/ 31496 w 150"/>
              <a:gd name="T5" fmla="*/ 0 h 72"/>
              <a:gd name="T6" fmla="*/ 15748 w 150"/>
              <a:gd name="T7" fmla="*/ 0 h 72"/>
              <a:gd name="T8" fmla="*/ 0 w 150"/>
              <a:gd name="T9" fmla="*/ 29104 h 72"/>
              <a:gd name="T10" fmla="*/ 78740 w 150"/>
              <a:gd name="T11" fmla="*/ 58208 h 72"/>
              <a:gd name="T12" fmla="*/ 133858 w 150"/>
              <a:gd name="T13" fmla="*/ 64029 h 72"/>
              <a:gd name="T14" fmla="*/ 165354 w 150"/>
              <a:gd name="T15" fmla="*/ 69850 h 72"/>
              <a:gd name="T16" fmla="*/ 181102 w 150"/>
              <a:gd name="T17" fmla="*/ 69850 h 72"/>
              <a:gd name="T18" fmla="*/ 196850 w 150"/>
              <a:gd name="T19" fmla="*/ 52387 h 72"/>
              <a:gd name="T20" fmla="*/ 196850 w 150"/>
              <a:gd name="T21" fmla="*/ 52387 h 72"/>
              <a:gd name="T22" fmla="*/ 181102 w 150"/>
              <a:gd name="T23" fmla="*/ 40746 h 72"/>
              <a:gd name="T24" fmla="*/ 133858 w 150"/>
              <a:gd name="T25" fmla="*/ 34925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0"/>
              <a:gd name="T40" fmla="*/ 0 h 72"/>
              <a:gd name="T41" fmla="*/ 150 w 150"/>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0" h="72">
                <a:moveTo>
                  <a:pt x="102" y="36"/>
                </a:moveTo>
                <a:lnTo>
                  <a:pt x="66" y="18"/>
                </a:lnTo>
                <a:lnTo>
                  <a:pt x="24" y="0"/>
                </a:lnTo>
                <a:lnTo>
                  <a:pt x="12" y="0"/>
                </a:lnTo>
                <a:lnTo>
                  <a:pt x="0" y="30"/>
                </a:lnTo>
                <a:lnTo>
                  <a:pt x="60" y="60"/>
                </a:lnTo>
                <a:lnTo>
                  <a:pt x="102" y="66"/>
                </a:lnTo>
                <a:lnTo>
                  <a:pt x="126" y="72"/>
                </a:lnTo>
                <a:lnTo>
                  <a:pt x="138" y="72"/>
                </a:lnTo>
                <a:lnTo>
                  <a:pt x="150" y="54"/>
                </a:lnTo>
                <a:lnTo>
                  <a:pt x="138" y="42"/>
                </a:lnTo>
                <a:lnTo>
                  <a:pt x="102" y="36"/>
                </a:lnTo>
                <a:close/>
              </a:path>
            </a:pathLst>
          </a:custGeom>
          <a:solidFill>
            <a:srgbClr val="7030A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03" name="Freeform 1373"/>
          <p:cNvSpPr>
            <a:spLocks/>
          </p:cNvSpPr>
          <p:nvPr/>
        </p:nvSpPr>
        <p:spPr bwMode="auto">
          <a:xfrm>
            <a:off x="6638354" y="3146574"/>
            <a:ext cx="777875" cy="292100"/>
          </a:xfrm>
          <a:custGeom>
            <a:avLst/>
            <a:gdLst>
              <a:gd name="T0" fmla="*/ 54909 w 595"/>
              <a:gd name="T1" fmla="*/ 122274 h 301"/>
              <a:gd name="T2" fmla="*/ 62753 w 595"/>
              <a:gd name="T3" fmla="*/ 180500 h 301"/>
              <a:gd name="T4" fmla="*/ 166034 w 595"/>
              <a:gd name="T5" fmla="*/ 203791 h 301"/>
              <a:gd name="T6" fmla="*/ 236631 w 595"/>
              <a:gd name="T7" fmla="*/ 256194 h 301"/>
              <a:gd name="T8" fmla="*/ 330760 w 595"/>
              <a:gd name="T9" fmla="*/ 262017 h 301"/>
              <a:gd name="T10" fmla="*/ 409201 w 595"/>
              <a:gd name="T11" fmla="*/ 292100 h 301"/>
              <a:gd name="T12" fmla="*/ 495487 w 595"/>
              <a:gd name="T13" fmla="*/ 250371 h 301"/>
              <a:gd name="T14" fmla="*/ 581772 w 595"/>
              <a:gd name="T15" fmla="*/ 244549 h 301"/>
              <a:gd name="T16" fmla="*/ 597460 w 595"/>
              <a:gd name="T17" fmla="*/ 203791 h 301"/>
              <a:gd name="T18" fmla="*/ 652369 w 595"/>
              <a:gd name="T19" fmla="*/ 186323 h 301"/>
              <a:gd name="T20" fmla="*/ 707278 w 595"/>
              <a:gd name="T21" fmla="*/ 168855 h 301"/>
              <a:gd name="T22" fmla="*/ 777875 w 595"/>
              <a:gd name="T23" fmla="*/ 151387 h 301"/>
              <a:gd name="T24" fmla="*/ 762187 w 595"/>
              <a:gd name="T25" fmla="*/ 128097 h 301"/>
              <a:gd name="T26" fmla="*/ 691590 w 595"/>
              <a:gd name="T27" fmla="*/ 122274 h 301"/>
              <a:gd name="T28" fmla="*/ 691590 w 595"/>
              <a:gd name="T29" fmla="*/ 93161 h 301"/>
              <a:gd name="T30" fmla="*/ 707278 w 595"/>
              <a:gd name="T31" fmla="*/ 69871 h 301"/>
              <a:gd name="T32" fmla="*/ 652369 w 595"/>
              <a:gd name="T33" fmla="*/ 58226 h 301"/>
              <a:gd name="T34" fmla="*/ 526863 w 595"/>
              <a:gd name="T35" fmla="*/ 81516 h 301"/>
              <a:gd name="T36" fmla="*/ 479798 w 595"/>
              <a:gd name="T37" fmla="*/ 52403 h 301"/>
              <a:gd name="T38" fmla="*/ 401357 w 595"/>
              <a:gd name="T39" fmla="*/ 52403 h 301"/>
              <a:gd name="T40" fmla="*/ 377825 w 595"/>
              <a:gd name="T41" fmla="*/ 34936 h 301"/>
              <a:gd name="T42" fmla="*/ 283696 w 595"/>
              <a:gd name="T43" fmla="*/ 0 h 301"/>
              <a:gd name="T44" fmla="*/ 252319 w 595"/>
              <a:gd name="T45" fmla="*/ 29113 h 301"/>
              <a:gd name="T46" fmla="*/ 220943 w 595"/>
              <a:gd name="T47" fmla="*/ 64049 h 301"/>
              <a:gd name="T48" fmla="*/ 158190 w 595"/>
              <a:gd name="T49" fmla="*/ 46581 h 301"/>
              <a:gd name="T50" fmla="*/ 70597 w 595"/>
              <a:gd name="T51" fmla="*/ 52403 h 301"/>
              <a:gd name="T52" fmla="*/ 15688 w 595"/>
              <a:gd name="T53" fmla="*/ 75694 h 301"/>
              <a:gd name="T54" fmla="*/ 0 w 595"/>
              <a:gd name="T55" fmla="*/ 98984 h 301"/>
              <a:gd name="T56" fmla="*/ 7844 w 595"/>
              <a:gd name="T57" fmla="*/ 104807 h 301"/>
              <a:gd name="T58" fmla="*/ 54909 w 595"/>
              <a:gd name="T59" fmla="*/ 122274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5"/>
              <a:gd name="T91" fmla="*/ 0 h 301"/>
              <a:gd name="T92" fmla="*/ 595 w 595"/>
              <a:gd name="T93" fmla="*/ 301 h 30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solidFill>
            <a:srgbClr val="EF4135"/>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04" name="Freeform 1374"/>
          <p:cNvSpPr>
            <a:spLocks/>
          </p:cNvSpPr>
          <p:nvPr/>
        </p:nvSpPr>
        <p:spPr bwMode="auto">
          <a:xfrm>
            <a:off x="4958779" y="2443312"/>
            <a:ext cx="266700" cy="439737"/>
          </a:xfrm>
          <a:custGeom>
            <a:avLst/>
            <a:gdLst>
              <a:gd name="T0" fmla="*/ 266700 w 34"/>
              <a:gd name="T1" fmla="*/ 322474 h 75"/>
              <a:gd name="T2" fmla="*/ 251012 w 34"/>
              <a:gd name="T3" fmla="*/ 316611 h 75"/>
              <a:gd name="T4" fmla="*/ 235323 w 34"/>
              <a:gd name="T5" fmla="*/ 304884 h 75"/>
              <a:gd name="T6" fmla="*/ 243168 w 34"/>
              <a:gd name="T7" fmla="*/ 275568 h 75"/>
              <a:gd name="T8" fmla="*/ 235323 w 34"/>
              <a:gd name="T9" fmla="*/ 263842 h 75"/>
              <a:gd name="T10" fmla="*/ 235323 w 34"/>
              <a:gd name="T11" fmla="*/ 252116 h 75"/>
              <a:gd name="T12" fmla="*/ 227479 w 34"/>
              <a:gd name="T13" fmla="*/ 246253 h 75"/>
              <a:gd name="T14" fmla="*/ 227479 w 34"/>
              <a:gd name="T15" fmla="*/ 234526 h 75"/>
              <a:gd name="T16" fmla="*/ 219635 w 34"/>
              <a:gd name="T17" fmla="*/ 222800 h 75"/>
              <a:gd name="T18" fmla="*/ 235323 w 34"/>
              <a:gd name="T19" fmla="*/ 211074 h 75"/>
              <a:gd name="T20" fmla="*/ 211791 w 34"/>
              <a:gd name="T21" fmla="*/ 158305 h 75"/>
              <a:gd name="T22" fmla="*/ 235323 w 34"/>
              <a:gd name="T23" fmla="*/ 123126 h 75"/>
              <a:gd name="T24" fmla="*/ 219635 w 34"/>
              <a:gd name="T25" fmla="*/ 99674 h 75"/>
              <a:gd name="T26" fmla="*/ 196103 w 34"/>
              <a:gd name="T27" fmla="*/ 87947 h 75"/>
              <a:gd name="T28" fmla="*/ 196103 w 34"/>
              <a:gd name="T29" fmla="*/ 82084 h 75"/>
              <a:gd name="T30" fmla="*/ 196103 w 34"/>
              <a:gd name="T31" fmla="*/ 58632 h 75"/>
              <a:gd name="T32" fmla="*/ 196103 w 34"/>
              <a:gd name="T33" fmla="*/ 58632 h 75"/>
              <a:gd name="T34" fmla="*/ 203947 w 34"/>
              <a:gd name="T35" fmla="*/ 52768 h 75"/>
              <a:gd name="T36" fmla="*/ 203947 w 34"/>
              <a:gd name="T37" fmla="*/ 46905 h 75"/>
              <a:gd name="T38" fmla="*/ 211791 w 34"/>
              <a:gd name="T39" fmla="*/ 35179 h 75"/>
              <a:gd name="T40" fmla="*/ 211791 w 34"/>
              <a:gd name="T41" fmla="*/ 17589 h 75"/>
              <a:gd name="T42" fmla="*/ 188259 w 34"/>
              <a:gd name="T43" fmla="*/ 0 h 75"/>
              <a:gd name="T44" fmla="*/ 149038 w 34"/>
              <a:gd name="T45" fmla="*/ 5863 h 75"/>
              <a:gd name="T46" fmla="*/ 133350 w 34"/>
              <a:gd name="T47" fmla="*/ 17589 h 75"/>
              <a:gd name="T48" fmla="*/ 117662 w 34"/>
              <a:gd name="T49" fmla="*/ 46905 h 75"/>
              <a:gd name="T50" fmla="*/ 94129 w 34"/>
              <a:gd name="T51" fmla="*/ 64495 h 75"/>
              <a:gd name="T52" fmla="*/ 86285 w 34"/>
              <a:gd name="T53" fmla="*/ 58632 h 75"/>
              <a:gd name="T54" fmla="*/ 62753 w 34"/>
              <a:gd name="T55" fmla="*/ 64495 h 75"/>
              <a:gd name="T56" fmla="*/ 39221 w 34"/>
              <a:gd name="T57" fmla="*/ 58632 h 75"/>
              <a:gd name="T58" fmla="*/ 23532 w 34"/>
              <a:gd name="T59" fmla="*/ 46905 h 75"/>
              <a:gd name="T60" fmla="*/ 15688 w 34"/>
              <a:gd name="T61" fmla="*/ 35179 h 75"/>
              <a:gd name="T62" fmla="*/ 7844 w 34"/>
              <a:gd name="T63" fmla="*/ 46905 h 75"/>
              <a:gd name="T64" fmla="*/ 0 w 34"/>
              <a:gd name="T65" fmla="*/ 46905 h 75"/>
              <a:gd name="T66" fmla="*/ 7844 w 34"/>
              <a:gd name="T67" fmla="*/ 58632 h 75"/>
              <a:gd name="T68" fmla="*/ 31376 w 34"/>
              <a:gd name="T69" fmla="*/ 76221 h 75"/>
              <a:gd name="T70" fmla="*/ 47065 w 34"/>
              <a:gd name="T71" fmla="*/ 82084 h 75"/>
              <a:gd name="T72" fmla="*/ 54909 w 34"/>
              <a:gd name="T73" fmla="*/ 82084 h 75"/>
              <a:gd name="T74" fmla="*/ 70597 w 34"/>
              <a:gd name="T75" fmla="*/ 111400 h 75"/>
              <a:gd name="T76" fmla="*/ 70597 w 34"/>
              <a:gd name="T77" fmla="*/ 134853 h 75"/>
              <a:gd name="T78" fmla="*/ 70597 w 34"/>
              <a:gd name="T79" fmla="*/ 152442 h 75"/>
              <a:gd name="T80" fmla="*/ 78441 w 34"/>
              <a:gd name="T81" fmla="*/ 170032 h 75"/>
              <a:gd name="T82" fmla="*/ 78441 w 34"/>
              <a:gd name="T83" fmla="*/ 175895 h 75"/>
              <a:gd name="T84" fmla="*/ 78441 w 34"/>
              <a:gd name="T85" fmla="*/ 205211 h 75"/>
              <a:gd name="T86" fmla="*/ 78441 w 34"/>
              <a:gd name="T87" fmla="*/ 211074 h 75"/>
              <a:gd name="T88" fmla="*/ 94129 w 34"/>
              <a:gd name="T89" fmla="*/ 211074 h 75"/>
              <a:gd name="T90" fmla="*/ 109818 w 34"/>
              <a:gd name="T91" fmla="*/ 234526 h 75"/>
              <a:gd name="T92" fmla="*/ 70597 w 34"/>
              <a:gd name="T93" fmla="*/ 287295 h 75"/>
              <a:gd name="T94" fmla="*/ 31376 w 34"/>
              <a:gd name="T95" fmla="*/ 310747 h 75"/>
              <a:gd name="T96" fmla="*/ 7844 w 34"/>
              <a:gd name="T97" fmla="*/ 340063 h 75"/>
              <a:gd name="T98" fmla="*/ 15688 w 34"/>
              <a:gd name="T99" fmla="*/ 386969 h 75"/>
              <a:gd name="T100" fmla="*/ 23532 w 34"/>
              <a:gd name="T101" fmla="*/ 416284 h 75"/>
              <a:gd name="T102" fmla="*/ 39221 w 34"/>
              <a:gd name="T103" fmla="*/ 428011 h 75"/>
              <a:gd name="T104" fmla="*/ 54909 w 34"/>
              <a:gd name="T105" fmla="*/ 439737 h 75"/>
              <a:gd name="T106" fmla="*/ 94129 w 34"/>
              <a:gd name="T107" fmla="*/ 439737 h 75"/>
              <a:gd name="T108" fmla="*/ 156882 w 34"/>
              <a:gd name="T109" fmla="*/ 422148 h 75"/>
              <a:gd name="T110" fmla="*/ 172571 w 34"/>
              <a:gd name="T111" fmla="*/ 422148 h 75"/>
              <a:gd name="T112" fmla="*/ 266700 w 34"/>
              <a:gd name="T113" fmla="*/ 340063 h 75"/>
              <a:gd name="T114" fmla="*/ 266700 w 34"/>
              <a:gd name="T115" fmla="*/ 322474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4"/>
              <a:gd name="T175" fmla="*/ 0 h 75"/>
              <a:gd name="T176" fmla="*/ 34 w 34"/>
              <a:gd name="T177" fmla="*/ 75 h 7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05" name="Freeform 1375"/>
          <p:cNvSpPr>
            <a:spLocks/>
          </p:cNvSpPr>
          <p:nvPr/>
        </p:nvSpPr>
        <p:spPr bwMode="auto">
          <a:xfrm>
            <a:off x="5233417" y="3140224"/>
            <a:ext cx="15875" cy="6350"/>
          </a:xfrm>
          <a:custGeom>
            <a:avLst/>
            <a:gdLst>
              <a:gd name="T0" fmla="*/ 15875 w 12"/>
              <a:gd name="T1" fmla="*/ 6350 h 6"/>
              <a:gd name="T2" fmla="*/ 0 w 12"/>
              <a:gd name="T3" fmla="*/ 0 h 6"/>
              <a:gd name="T4" fmla="*/ 0 w 12"/>
              <a:gd name="T5" fmla="*/ 6350 h 6"/>
              <a:gd name="T6" fmla="*/ 15875 w 12"/>
              <a:gd name="T7" fmla="*/ 6350 h 6"/>
              <a:gd name="T8" fmla="*/ 0 60000 65536"/>
              <a:gd name="T9" fmla="*/ 0 60000 65536"/>
              <a:gd name="T10" fmla="*/ 0 60000 65536"/>
              <a:gd name="T11" fmla="*/ 0 60000 65536"/>
              <a:gd name="T12" fmla="*/ 0 w 12"/>
              <a:gd name="T13" fmla="*/ 0 h 6"/>
              <a:gd name="T14" fmla="*/ 12 w 12"/>
              <a:gd name="T15" fmla="*/ 6 h 6"/>
            </a:gdLst>
            <a:ahLst/>
            <a:cxnLst>
              <a:cxn ang="T8">
                <a:pos x="T0" y="T1"/>
              </a:cxn>
              <a:cxn ang="T9">
                <a:pos x="T2" y="T3"/>
              </a:cxn>
              <a:cxn ang="T10">
                <a:pos x="T4" y="T5"/>
              </a:cxn>
              <a:cxn ang="T11">
                <a:pos x="T6" y="T7"/>
              </a:cxn>
            </a:cxnLst>
            <a:rect l="T12" t="T13" r="T14" b="T15"/>
            <a:pathLst>
              <a:path w="12" h="6">
                <a:moveTo>
                  <a:pt x="12" y="6"/>
                </a:moveTo>
                <a:lnTo>
                  <a:pt x="0" y="0"/>
                </a:lnTo>
                <a:lnTo>
                  <a:pt x="0" y="6"/>
                </a:lnTo>
                <a:lnTo>
                  <a:pt x="12" y="6"/>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06" name="Freeform 1376"/>
          <p:cNvSpPr>
            <a:spLocks/>
          </p:cNvSpPr>
          <p:nvPr/>
        </p:nvSpPr>
        <p:spPr bwMode="auto">
          <a:xfrm>
            <a:off x="5131817" y="1951187"/>
            <a:ext cx="3792537" cy="1522412"/>
          </a:xfrm>
          <a:custGeom>
            <a:avLst/>
            <a:gdLst>
              <a:gd name="T0" fmla="*/ 3690460 w 483"/>
              <a:gd name="T1" fmla="*/ 521133 h 260"/>
              <a:gd name="T2" fmla="*/ 3541272 w 483"/>
              <a:gd name="T3" fmla="*/ 567977 h 260"/>
              <a:gd name="T4" fmla="*/ 3384231 w 483"/>
              <a:gd name="T5" fmla="*/ 521133 h 260"/>
              <a:gd name="T6" fmla="*/ 3164374 w 483"/>
              <a:gd name="T7" fmla="*/ 450868 h 260"/>
              <a:gd name="T8" fmla="*/ 2842440 w 483"/>
              <a:gd name="T9" fmla="*/ 345470 h 260"/>
              <a:gd name="T10" fmla="*/ 2685399 w 483"/>
              <a:gd name="T11" fmla="*/ 409880 h 260"/>
              <a:gd name="T12" fmla="*/ 2536210 w 483"/>
              <a:gd name="T13" fmla="*/ 427446 h 260"/>
              <a:gd name="T14" fmla="*/ 2449838 w 483"/>
              <a:gd name="T15" fmla="*/ 298627 h 260"/>
              <a:gd name="T16" fmla="*/ 2253537 w 483"/>
              <a:gd name="T17" fmla="*/ 310338 h 260"/>
              <a:gd name="T18" fmla="*/ 2072940 w 483"/>
              <a:gd name="T19" fmla="*/ 257639 h 260"/>
              <a:gd name="T20" fmla="*/ 2057236 w 483"/>
              <a:gd name="T21" fmla="*/ 228362 h 260"/>
              <a:gd name="T22" fmla="*/ 1994419 w 483"/>
              <a:gd name="T23" fmla="*/ 46843 h 260"/>
              <a:gd name="T24" fmla="*/ 1696041 w 483"/>
              <a:gd name="T25" fmla="*/ 111253 h 260"/>
              <a:gd name="T26" fmla="*/ 1326995 w 483"/>
              <a:gd name="T27" fmla="*/ 316193 h 260"/>
              <a:gd name="T28" fmla="*/ 1193511 w 483"/>
              <a:gd name="T29" fmla="*/ 345470 h 260"/>
              <a:gd name="T30" fmla="*/ 1122842 w 483"/>
              <a:gd name="T31" fmla="*/ 445013 h 260"/>
              <a:gd name="T32" fmla="*/ 1005062 w 483"/>
              <a:gd name="T33" fmla="*/ 409880 h 260"/>
              <a:gd name="T34" fmla="*/ 1036470 w 483"/>
              <a:gd name="T35" fmla="*/ 550410 h 260"/>
              <a:gd name="T36" fmla="*/ 816613 w 483"/>
              <a:gd name="T37" fmla="*/ 556266 h 260"/>
              <a:gd name="T38" fmla="*/ 651720 w 483"/>
              <a:gd name="T39" fmla="*/ 567977 h 260"/>
              <a:gd name="T40" fmla="*/ 463271 w 483"/>
              <a:gd name="T41" fmla="*/ 655808 h 260"/>
              <a:gd name="T42" fmla="*/ 416158 w 483"/>
              <a:gd name="T43" fmla="*/ 579688 h 260"/>
              <a:gd name="T44" fmla="*/ 384750 w 483"/>
              <a:gd name="T45" fmla="*/ 679230 h 260"/>
              <a:gd name="T46" fmla="*/ 306230 w 483"/>
              <a:gd name="T47" fmla="*/ 755351 h 260"/>
              <a:gd name="T48" fmla="*/ 243413 w 483"/>
              <a:gd name="T49" fmla="*/ 796339 h 260"/>
              <a:gd name="T50" fmla="*/ 180597 w 483"/>
              <a:gd name="T51" fmla="*/ 690941 h 260"/>
              <a:gd name="T52" fmla="*/ 172745 w 483"/>
              <a:gd name="T53" fmla="*/ 661664 h 260"/>
              <a:gd name="T54" fmla="*/ 282674 w 483"/>
              <a:gd name="T55" fmla="*/ 591398 h 260"/>
              <a:gd name="T56" fmla="*/ 102077 w 483"/>
              <a:gd name="T57" fmla="*/ 509422 h 260"/>
              <a:gd name="T58" fmla="*/ 31408 w 483"/>
              <a:gd name="T59" fmla="*/ 550410 h 260"/>
              <a:gd name="T60" fmla="*/ 62816 w 483"/>
              <a:gd name="T61" fmla="*/ 626531 h 260"/>
              <a:gd name="T62" fmla="*/ 62816 w 483"/>
              <a:gd name="T63" fmla="*/ 755351 h 260"/>
              <a:gd name="T64" fmla="*/ 86372 w 483"/>
              <a:gd name="T65" fmla="*/ 837327 h 260"/>
              <a:gd name="T66" fmla="*/ 15704 w 483"/>
              <a:gd name="T67" fmla="*/ 960291 h 260"/>
              <a:gd name="T68" fmla="*/ 70668 w 483"/>
              <a:gd name="T69" fmla="*/ 1089110 h 260"/>
              <a:gd name="T70" fmla="*/ 117781 w 483"/>
              <a:gd name="T71" fmla="*/ 1200363 h 260"/>
              <a:gd name="T72" fmla="*/ 266970 w 483"/>
              <a:gd name="T73" fmla="*/ 1282339 h 260"/>
              <a:gd name="T74" fmla="*/ 204153 w 483"/>
              <a:gd name="T75" fmla="*/ 1358460 h 260"/>
              <a:gd name="T76" fmla="*/ 353342 w 483"/>
              <a:gd name="T77" fmla="*/ 1452147 h 260"/>
              <a:gd name="T78" fmla="*/ 463271 w 483"/>
              <a:gd name="T79" fmla="*/ 1498990 h 260"/>
              <a:gd name="T80" fmla="*/ 494679 w 483"/>
              <a:gd name="T81" fmla="*/ 1428725 h 260"/>
              <a:gd name="T82" fmla="*/ 494679 w 483"/>
              <a:gd name="T83" fmla="*/ 1311616 h 260"/>
              <a:gd name="T84" fmla="*/ 643868 w 483"/>
              <a:gd name="T85" fmla="*/ 1223785 h 260"/>
              <a:gd name="T86" fmla="*/ 855873 w 483"/>
              <a:gd name="T87" fmla="*/ 1147664 h 260"/>
              <a:gd name="T88" fmla="*/ 1256327 w 483"/>
              <a:gd name="T89" fmla="*/ 1188652 h 260"/>
              <a:gd name="T90" fmla="*/ 1499740 w 483"/>
              <a:gd name="T91" fmla="*/ 1299905 h 260"/>
              <a:gd name="T92" fmla="*/ 1758858 w 483"/>
              <a:gd name="T93" fmla="*/ 1235496 h 260"/>
              <a:gd name="T94" fmla="*/ 2159312 w 483"/>
              <a:gd name="T95" fmla="*/ 1264773 h 260"/>
              <a:gd name="T96" fmla="*/ 2410578 w 483"/>
              <a:gd name="T97" fmla="*/ 1171086 h 260"/>
              <a:gd name="T98" fmla="*/ 2583323 w 483"/>
              <a:gd name="T99" fmla="*/ 1399448 h 260"/>
              <a:gd name="T100" fmla="*/ 2630435 w 483"/>
              <a:gd name="T101" fmla="*/ 1463857 h 260"/>
              <a:gd name="T102" fmla="*/ 2826736 w 483"/>
              <a:gd name="T103" fmla="*/ 1188652 h 260"/>
              <a:gd name="T104" fmla="*/ 2677547 w 483"/>
              <a:gd name="T105" fmla="*/ 1124243 h 260"/>
              <a:gd name="T106" fmla="*/ 2913108 w 483"/>
              <a:gd name="T107" fmla="*/ 960291 h 260"/>
              <a:gd name="T108" fmla="*/ 3164374 w 483"/>
              <a:gd name="T109" fmla="*/ 972001 h 260"/>
              <a:gd name="T110" fmla="*/ 3305710 w 483"/>
              <a:gd name="T111" fmla="*/ 907592 h 260"/>
              <a:gd name="T112" fmla="*/ 3290006 w 483"/>
              <a:gd name="T113" fmla="*/ 972001 h 260"/>
              <a:gd name="T114" fmla="*/ 3266450 w 483"/>
              <a:gd name="T115" fmla="*/ 1182797 h 260"/>
              <a:gd name="T116" fmla="*/ 3352823 w 483"/>
              <a:gd name="T117" fmla="*/ 1077399 h 260"/>
              <a:gd name="T118" fmla="*/ 3415639 w 483"/>
              <a:gd name="T119" fmla="*/ 942724 h 260"/>
              <a:gd name="T120" fmla="*/ 3588384 w 483"/>
              <a:gd name="T121" fmla="*/ 913447 h 260"/>
              <a:gd name="T122" fmla="*/ 3761129 w 483"/>
              <a:gd name="T123" fmla="*/ 819760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83"/>
              <a:gd name="T187" fmla="*/ 0 h 260"/>
              <a:gd name="T188" fmla="*/ 483 w 483"/>
              <a:gd name="T189" fmla="*/ 260 h 2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07" name="Freeform 1377"/>
          <p:cNvSpPr>
            <a:spLocks/>
          </p:cNvSpPr>
          <p:nvPr/>
        </p:nvSpPr>
        <p:spPr bwMode="auto">
          <a:xfrm>
            <a:off x="5714429" y="3538687"/>
            <a:ext cx="71438" cy="6350"/>
          </a:xfrm>
          <a:custGeom>
            <a:avLst/>
            <a:gdLst>
              <a:gd name="T0" fmla="*/ 7938 w 54"/>
              <a:gd name="T1" fmla="*/ 6350 h 6"/>
              <a:gd name="T2" fmla="*/ 39688 w 54"/>
              <a:gd name="T3" fmla="*/ 6350 h 6"/>
              <a:gd name="T4" fmla="*/ 71438 w 54"/>
              <a:gd name="T5" fmla="*/ 0 h 6"/>
              <a:gd name="T6" fmla="*/ 0 w 54"/>
              <a:gd name="T7" fmla="*/ 6350 h 6"/>
              <a:gd name="T8" fmla="*/ 7938 w 54"/>
              <a:gd name="T9" fmla="*/ 6350 h 6"/>
              <a:gd name="T10" fmla="*/ 0 60000 65536"/>
              <a:gd name="T11" fmla="*/ 0 60000 65536"/>
              <a:gd name="T12" fmla="*/ 0 60000 65536"/>
              <a:gd name="T13" fmla="*/ 0 60000 65536"/>
              <a:gd name="T14" fmla="*/ 0 60000 65536"/>
              <a:gd name="T15" fmla="*/ 0 w 54"/>
              <a:gd name="T16" fmla="*/ 0 h 6"/>
              <a:gd name="T17" fmla="*/ 54 w 54"/>
              <a:gd name="T18" fmla="*/ 6 h 6"/>
            </a:gdLst>
            <a:ahLst/>
            <a:cxnLst>
              <a:cxn ang="T10">
                <a:pos x="T0" y="T1"/>
              </a:cxn>
              <a:cxn ang="T11">
                <a:pos x="T2" y="T3"/>
              </a:cxn>
              <a:cxn ang="T12">
                <a:pos x="T4" y="T5"/>
              </a:cxn>
              <a:cxn ang="T13">
                <a:pos x="T6" y="T7"/>
              </a:cxn>
              <a:cxn ang="T14">
                <a:pos x="T8" y="T9"/>
              </a:cxn>
            </a:cxnLst>
            <a:rect l="T15" t="T16" r="T17" b="T18"/>
            <a:pathLst>
              <a:path w="54" h="6">
                <a:moveTo>
                  <a:pt x="6" y="6"/>
                </a:moveTo>
                <a:lnTo>
                  <a:pt x="30" y="6"/>
                </a:lnTo>
                <a:lnTo>
                  <a:pt x="54" y="0"/>
                </a:lnTo>
                <a:lnTo>
                  <a:pt x="0" y="6"/>
                </a:lnTo>
                <a:lnTo>
                  <a:pt x="6" y="6"/>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08" name="Freeform 1378"/>
          <p:cNvSpPr>
            <a:spLocks/>
          </p:cNvSpPr>
          <p:nvPr/>
        </p:nvSpPr>
        <p:spPr bwMode="auto">
          <a:xfrm>
            <a:off x="5604892" y="3046562"/>
            <a:ext cx="1011237" cy="531812"/>
          </a:xfrm>
          <a:custGeom>
            <a:avLst/>
            <a:gdLst>
              <a:gd name="T0" fmla="*/ 681997 w 129"/>
              <a:gd name="T1" fmla="*/ 449995 h 91"/>
              <a:gd name="T2" fmla="*/ 752548 w 129"/>
              <a:gd name="T3" fmla="*/ 414930 h 91"/>
              <a:gd name="T4" fmla="*/ 823100 w 129"/>
              <a:gd name="T5" fmla="*/ 368178 h 91"/>
              <a:gd name="T6" fmla="*/ 893651 w 129"/>
              <a:gd name="T7" fmla="*/ 292204 h 91"/>
              <a:gd name="T8" fmla="*/ 972042 w 129"/>
              <a:gd name="T9" fmla="*/ 239608 h 91"/>
              <a:gd name="T10" fmla="*/ 1011237 w 129"/>
              <a:gd name="T11" fmla="*/ 198699 h 91"/>
              <a:gd name="T12" fmla="*/ 956363 w 129"/>
              <a:gd name="T13" fmla="*/ 157790 h 91"/>
              <a:gd name="T14" fmla="*/ 815261 w 129"/>
              <a:gd name="T15" fmla="*/ 134414 h 91"/>
              <a:gd name="T16" fmla="*/ 752548 w 129"/>
              <a:gd name="T17" fmla="*/ 35065 h 91"/>
              <a:gd name="T18" fmla="*/ 642802 w 129"/>
              <a:gd name="T19" fmla="*/ 52597 h 91"/>
              <a:gd name="T20" fmla="*/ 486021 w 129"/>
              <a:gd name="T21" fmla="*/ 17532 h 91"/>
              <a:gd name="T22" fmla="*/ 352757 w 129"/>
              <a:gd name="T23" fmla="*/ 93505 h 91"/>
              <a:gd name="T24" fmla="*/ 313562 w 129"/>
              <a:gd name="T25" fmla="*/ 140258 h 91"/>
              <a:gd name="T26" fmla="*/ 211654 w 129"/>
              <a:gd name="T27" fmla="*/ 140258 h 91"/>
              <a:gd name="T28" fmla="*/ 101908 w 129"/>
              <a:gd name="T29" fmla="*/ 122726 h 91"/>
              <a:gd name="T30" fmla="*/ 0 w 129"/>
              <a:gd name="T31" fmla="*/ 192855 h 91"/>
              <a:gd name="T32" fmla="*/ 47034 w 129"/>
              <a:gd name="T33" fmla="*/ 245452 h 91"/>
              <a:gd name="T34" fmla="*/ 148942 w 129"/>
              <a:gd name="T35" fmla="*/ 239608 h 91"/>
              <a:gd name="T36" fmla="*/ 156781 w 129"/>
              <a:gd name="T37" fmla="*/ 292204 h 91"/>
              <a:gd name="T38" fmla="*/ 101908 w 129"/>
              <a:gd name="T39" fmla="*/ 303893 h 91"/>
              <a:gd name="T40" fmla="*/ 156781 w 129"/>
              <a:gd name="T41" fmla="*/ 368178 h 91"/>
              <a:gd name="T42" fmla="*/ 188137 w 129"/>
              <a:gd name="T43" fmla="*/ 444151 h 91"/>
              <a:gd name="T44" fmla="*/ 188137 w 129"/>
              <a:gd name="T45" fmla="*/ 479215 h 91"/>
              <a:gd name="T46" fmla="*/ 258689 w 129"/>
              <a:gd name="T47" fmla="*/ 461683 h 91"/>
              <a:gd name="T48" fmla="*/ 329240 w 129"/>
              <a:gd name="T49" fmla="*/ 496747 h 91"/>
              <a:gd name="T50" fmla="*/ 360596 w 129"/>
              <a:gd name="T51" fmla="*/ 520124 h 91"/>
              <a:gd name="T52" fmla="*/ 399791 w 129"/>
              <a:gd name="T53" fmla="*/ 531812 h 91"/>
              <a:gd name="T54" fmla="*/ 454665 w 129"/>
              <a:gd name="T55" fmla="*/ 508436 h 91"/>
              <a:gd name="T56" fmla="*/ 493860 w 129"/>
              <a:gd name="T57" fmla="*/ 485059 h 91"/>
              <a:gd name="T58" fmla="*/ 533055 w 129"/>
              <a:gd name="T59" fmla="*/ 496747 h 91"/>
              <a:gd name="T60" fmla="*/ 580089 w 129"/>
              <a:gd name="T61" fmla="*/ 479215 h 91"/>
              <a:gd name="T62" fmla="*/ 611446 w 129"/>
              <a:gd name="T63" fmla="*/ 467527 h 91"/>
              <a:gd name="T64" fmla="*/ 642802 w 129"/>
              <a:gd name="T65" fmla="*/ 485059 h 91"/>
              <a:gd name="T66" fmla="*/ 689836 w 129"/>
              <a:gd name="T67" fmla="*/ 479215 h 91"/>
              <a:gd name="T68" fmla="*/ 705514 w 129"/>
              <a:gd name="T69" fmla="*/ 479215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9"/>
              <a:gd name="T106" fmla="*/ 0 h 91"/>
              <a:gd name="T107" fmla="*/ 129 w 129"/>
              <a:gd name="T108" fmla="*/ 91 h 9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09" name="Freeform 1379"/>
          <p:cNvSpPr>
            <a:spLocks/>
          </p:cNvSpPr>
          <p:nvPr/>
        </p:nvSpPr>
        <p:spPr bwMode="auto">
          <a:xfrm>
            <a:off x="5666804" y="3521224"/>
            <a:ext cx="22225" cy="11113"/>
          </a:xfrm>
          <a:custGeom>
            <a:avLst/>
            <a:gdLst>
              <a:gd name="T0" fmla="*/ 0 w 18"/>
              <a:gd name="T1" fmla="*/ 0 h 12"/>
              <a:gd name="T2" fmla="*/ 0 w 18"/>
              <a:gd name="T3" fmla="*/ 11113 h 12"/>
              <a:gd name="T4" fmla="*/ 22225 w 18"/>
              <a:gd name="T5" fmla="*/ 11113 h 12"/>
              <a:gd name="T6" fmla="*/ 14817 w 18"/>
              <a:gd name="T7" fmla="*/ 11113 h 12"/>
              <a:gd name="T8" fmla="*/ 0 w 18"/>
              <a:gd name="T9" fmla="*/ 0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0"/>
                </a:moveTo>
                <a:lnTo>
                  <a:pt x="0" y="12"/>
                </a:lnTo>
                <a:lnTo>
                  <a:pt x="18" y="12"/>
                </a:lnTo>
                <a:lnTo>
                  <a:pt x="12" y="12"/>
                </a:lnTo>
                <a:lnTo>
                  <a:pt x="0" y="0"/>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10" name="Rectangle 1380"/>
          <p:cNvSpPr>
            <a:spLocks noChangeArrowheads="1"/>
          </p:cNvSpPr>
          <p:nvPr/>
        </p:nvSpPr>
        <p:spPr bwMode="auto">
          <a:xfrm>
            <a:off x="4849242" y="3244999"/>
            <a:ext cx="9525" cy="1588"/>
          </a:xfrm>
          <a:prstGeom prst="rect">
            <a:avLst/>
          </a:prstGeom>
          <a:solidFill>
            <a:srgbClr val="00B050"/>
          </a:solidFill>
          <a:ln w="9525">
            <a:solidFill>
              <a:schemeClr val="bg1"/>
            </a:solidFill>
            <a:miter lim="800000"/>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11" name="Freeform 1381"/>
          <p:cNvSpPr>
            <a:spLocks/>
          </p:cNvSpPr>
          <p:nvPr/>
        </p:nvSpPr>
        <p:spPr bwMode="auto">
          <a:xfrm>
            <a:off x="4677792" y="3238649"/>
            <a:ext cx="187325" cy="65088"/>
          </a:xfrm>
          <a:custGeom>
            <a:avLst/>
            <a:gdLst>
              <a:gd name="T0" fmla="*/ 179520 w 24"/>
              <a:gd name="T1" fmla="*/ 35503 h 11"/>
              <a:gd name="T2" fmla="*/ 187325 w 24"/>
              <a:gd name="T3" fmla="*/ 23668 h 11"/>
              <a:gd name="T4" fmla="*/ 187325 w 24"/>
              <a:gd name="T5" fmla="*/ 23668 h 11"/>
              <a:gd name="T6" fmla="*/ 179520 w 24"/>
              <a:gd name="T7" fmla="*/ 11834 h 11"/>
              <a:gd name="T8" fmla="*/ 179520 w 24"/>
              <a:gd name="T9" fmla="*/ 5917 h 11"/>
              <a:gd name="T10" fmla="*/ 171715 w 24"/>
              <a:gd name="T11" fmla="*/ 5917 h 11"/>
              <a:gd name="T12" fmla="*/ 140494 w 24"/>
              <a:gd name="T13" fmla="*/ 0 h 11"/>
              <a:gd name="T14" fmla="*/ 132689 w 24"/>
              <a:gd name="T15" fmla="*/ 5917 h 11"/>
              <a:gd name="T16" fmla="*/ 109273 w 24"/>
              <a:gd name="T17" fmla="*/ 5917 h 11"/>
              <a:gd name="T18" fmla="*/ 101468 w 24"/>
              <a:gd name="T19" fmla="*/ 11834 h 11"/>
              <a:gd name="T20" fmla="*/ 85857 w 24"/>
              <a:gd name="T21" fmla="*/ 17751 h 11"/>
              <a:gd name="T22" fmla="*/ 93663 w 24"/>
              <a:gd name="T23" fmla="*/ 29585 h 11"/>
              <a:gd name="T24" fmla="*/ 85857 w 24"/>
              <a:gd name="T25" fmla="*/ 35503 h 11"/>
              <a:gd name="T26" fmla="*/ 78052 w 24"/>
              <a:gd name="T27" fmla="*/ 35503 h 11"/>
              <a:gd name="T28" fmla="*/ 46831 w 24"/>
              <a:gd name="T29" fmla="*/ 41420 h 11"/>
              <a:gd name="T30" fmla="*/ 31221 w 24"/>
              <a:gd name="T31" fmla="*/ 41420 h 11"/>
              <a:gd name="T32" fmla="*/ 15610 w 24"/>
              <a:gd name="T33" fmla="*/ 41420 h 11"/>
              <a:gd name="T34" fmla="*/ 7805 w 24"/>
              <a:gd name="T35" fmla="*/ 41420 h 11"/>
              <a:gd name="T36" fmla="*/ 0 w 24"/>
              <a:gd name="T37" fmla="*/ 41420 h 11"/>
              <a:gd name="T38" fmla="*/ 7805 w 24"/>
              <a:gd name="T39" fmla="*/ 47337 h 11"/>
              <a:gd name="T40" fmla="*/ 23416 w 24"/>
              <a:gd name="T41" fmla="*/ 59171 h 11"/>
              <a:gd name="T42" fmla="*/ 31221 w 24"/>
              <a:gd name="T43" fmla="*/ 65088 h 11"/>
              <a:gd name="T44" fmla="*/ 39026 w 24"/>
              <a:gd name="T45" fmla="*/ 59171 h 11"/>
              <a:gd name="T46" fmla="*/ 70247 w 24"/>
              <a:gd name="T47" fmla="*/ 59171 h 11"/>
              <a:gd name="T48" fmla="*/ 101468 w 24"/>
              <a:gd name="T49" fmla="*/ 65088 h 11"/>
              <a:gd name="T50" fmla="*/ 109273 w 24"/>
              <a:gd name="T51" fmla="*/ 65088 h 11"/>
              <a:gd name="T52" fmla="*/ 140494 w 24"/>
              <a:gd name="T53" fmla="*/ 65088 h 11"/>
              <a:gd name="T54" fmla="*/ 163909 w 24"/>
              <a:gd name="T55" fmla="*/ 53254 h 11"/>
              <a:gd name="T56" fmla="*/ 171715 w 24"/>
              <a:gd name="T57" fmla="*/ 53254 h 11"/>
              <a:gd name="T58" fmla="*/ 179520 w 24"/>
              <a:gd name="T59" fmla="*/ 35503 h 1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4"/>
              <a:gd name="T91" fmla="*/ 0 h 11"/>
              <a:gd name="T92" fmla="*/ 24 w 24"/>
              <a:gd name="T93" fmla="*/ 11 h 1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4" h="11">
                <a:moveTo>
                  <a:pt x="23" y="6"/>
                </a:moveTo>
                <a:cubicBezTo>
                  <a:pt x="24" y="4"/>
                  <a:pt x="24" y="4"/>
                  <a:pt x="24" y="4"/>
                </a:cubicBezTo>
                <a:cubicBezTo>
                  <a:pt x="24" y="4"/>
                  <a:pt x="24" y="4"/>
                  <a:pt x="24" y="4"/>
                </a:cubicBezTo>
                <a:cubicBezTo>
                  <a:pt x="23" y="2"/>
                  <a:pt x="23" y="2"/>
                  <a:pt x="23" y="2"/>
                </a:cubicBezTo>
                <a:cubicBezTo>
                  <a:pt x="23" y="1"/>
                  <a:pt x="23" y="1"/>
                  <a:pt x="23" y="1"/>
                </a:cubicBezTo>
                <a:cubicBezTo>
                  <a:pt x="22" y="1"/>
                  <a:pt x="22" y="1"/>
                  <a:pt x="22" y="1"/>
                </a:cubicBezTo>
                <a:cubicBezTo>
                  <a:pt x="18" y="0"/>
                  <a:pt x="18" y="0"/>
                  <a:pt x="18" y="0"/>
                </a:cubicBezTo>
                <a:cubicBezTo>
                  <a:pt x="17" y="1"/>
                  <a:pt x="17" y="1"/>
                  <a:pt x="17" y="1"/>
                </a:cubicBezTo>
                <a:cubicBezTo>
                  <a:pt x="14" y="1"/>
                  <a:pt x="14" y="1"/>
                  <a:pt x="14" y="1"/>
                </a:cubicBezTo>
                <a:cubicBezTo>
                  <a:pt x="13" y="2"/>
                  <a:pt x="13" y="2"/>
                  <a:pt x="13" y="2"/>
                </a:cubicBezTo>
                <a:cubicBezTo>
                  <a:pt x="11" y="3"/>
                  <a:pt x="11" y="3"/>
                  <a:pt x="11" y="3"/>
                </a:cubicBezTo>
                <a:cubicBezTo>
                  <a:pt x="12" y="5"/>
                  <a:pt x="12" y="5"/>
                  <a:pt x="12" y="5"/>
                </a:cubicBezTo>
                <a:cubicBezTo>
                  <a:pt x="12" y="5"/>
                  <a:pt x="12" y="6"/>
                  <a:pt x="11" y="6"/>
                </a:cubicBezTo>
                <a:cubicBezTo>
                  <a:pt x="11" y="6"/>
                  <a:pt x="10" y="6"/>
                  <a:pt x="10" y="6"/>
                </a:cubicBezTo>
                <a:cubicBezTo>
                  <a:pt x="6" y="7"/>
                  <a:pt x="6" y="7"/>
                  <a:pt x="6" y="7"/>
                </a:cubicBezTo>
                <a:cubicBezTo>
                  <a:pt x="4" y="7"/>
                  <a:pt x="4" y="7"/>
                  <a:pt x="4" y="7"/>
                </a:cubicBezTo>
                <a:cubicBezTo>
                  <a:pt x="4" y="7"/>
                  <a:pt x="2" y="8"/>
                  <a:pt x="2" y="7"/>
                </a:cubicBezTo>
                <a:cubicBezTo>
                  <a:pt x="2" y="7"/>
                  <a:pt x="1" y="7"/>
                  <a:pt x="1" y="7"/>
                </a:cubicBezTo>
                <a:cubicBezTo>
                  <a:pt x="0" y="7"/>
                  <a:pt x="0" y="7"/>
                  <a:pt x="0" y="7"/>
                </a:cubicBezTo>
                <a:cubicBezTo>
                  <a:pt x="1" y="8"/>
                  <a:pt x="1" y="8"/>
                  <a:pt x="1" y="8"/>
                </a:cubicBezTo>
                <a:cubicBezTo>
                  <a:pt x="3" y="10"/>
                  <a:pt x="3" y="10"/>
                  <a:pt x="3" y="10"/>
                </a:cubicBezTo>
                <a:cubicBezTo>
                  <a:pt x="4" y="11"/>
                  <a:pt x="4" y="11"/>
                  <a:pt x="4" y="11"/>
                </a:cubicBezTo>
                <a:cubicBezTo>
                  <a:pt x="5" y="10"/>
                  <a:pt x="5" y="10"/>
                  <a:pt x="5" y="10"/>
                </a:cubicBezTo>
                <a:cubicBezTo>
                  <a:pt x="9" y="10"/>
                  <a:pt x="9" y="10"/>
                  <a:pt x="9" y="10"/>
                </a:cubicBezTo>
                <a:cubicBezTo>
                  <a:pt x="13" y="11"/>
                  <a:pt x="13" y="11"/>
                  <a:pt x="13" y="11"/>
                </a:cubicBezTo>
                <a:cubicBezTo>
                  <a:pt x="14" y="11"/>
                  <a:pt x="14" y="11"/>
                  <a:pt x="14" y="11"/>
                </a:cubicBezTo>
                <a:cubicBezTo>
                  <a:pt x="18" y="11"/>
                  <a:pt x="18" y="11"/>
                  <a:pt x="18" y="11"/>
                </a:cubicBezTo>
                <a:cubicBezTo>
                  <a:pt x="21" y="9"/>
                  <a:pt x="21" y="9"/>
                  <a:pt x="21" y="9"/>
                </a:cubicBezTo>
                <a:cubicBezTo>
                  <a:pt x="22" y="9"/>
                  <a:pt x="22" y="9"/>
                  <a:pt x="22" y="9"/>
                </a:cubicBezTo>
                <a:lnTo>
                  <a:pt x="23" y="6"/>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12" name="Freeform 1382"/>
          <p:cNvSpPr>
            <a:spLocks/>
          </p:cNvSpPr>
          <p:nvPr/>
        </p:nvSpPr>
        <p:spPr bwMode="auto">
          <a:xfrm>
            <a:off x="4331717" y="3175149"/>
            <a:ext cx="314325" cy="238125"/>
          </a:xfrm>
          <a:custGeom>
            <a:avLst/>
            <a:gdLst>
              <a:gd name="T0" fmla="*/ 282893 w 40"/>
              <a:gd name="T1" fmla="*/ 168430 h 41"/>
              <a:gd name="T2" fmla="*/ 290751 w 40"/>
              <a:gd name="T3" fmla="*/ 156814 h 41"/>
              <a:gd name="T4" fmla="*/ 290751 w 40"/>
              <a:gd name="T5" fmla="*/ 145198 h 41"/>
              <a:gd name="T6" fmla="*/ 290751 w 40"/>
              <a:gd name="T7" fmla="*/ 145198 h 41"/>
              <a:gd name="T8" fmla="*/ 282893 w 40"/>
              <a:gd name="T9" fmla="*/ 133582 h 41"/>
              <a:gd name="T10" fmla="*/ 267176 w 40"/>
              <a:gd name="T11" fmla="*/ 133582 h 41"/>
              <a:gd name="T12" fmla="*/ 267176 w 40"/>
              <a:gd name="T13" fmla="*/ 121966 h 41"/>
              <a:gd name="T14" fmla="*/ 290751 w 40"/>
              <a:gd name="T15" fmla="*/ 104543 h 41"/>
              <a:gd name="T16" fmla="*/ 298609 w 40"/>
              <a:gd name="T17" fmla="*/ 98735 h 41"/>
              <a:gd name="T18" fmla="*/ 298609 w 40"/>
              <a:gd name="T19" fmla="*/ 98735 h 41"/>
              <a:gd name="T20" fmla="*/ 298609 w 40"/>
              <a:gd name="T21" fmla="*/ 75503 h 41"/>
              <a:gd name="T22" fmla="*/ 314325 w 40"/>
              <a:gd name="T23" fmla="*/ 63887 h 41"/>
              <a:gd name="T24" fmla="*/ 290751 w 40"/>
              <a:gd name="T25" fmla="*/ 58079 h 41"/>
              <a:gd name="T26" fmla="*/ 275034 w 40"/>
              <a:gd name="T27" fmla="*/ 52271 h 41"/>
              <a:gd name="T28" fmla="*/ 251460 w 40"/>
              <a:gd name="T29" fmla="*/ 46463 h 41"/>
              <a:gd name="T30" fmla="*/ 243602 w 40"/>
              <a:gd name="T31" fmla="*/ 40655 h 41"/>
              <a:gd name="T32" fmla="*/ 227886 w 40"/>
              <a:gd name="T33" fmla="*/ 34848 h 41"/>
              <a:gd name="T34" fmla="*/ 212169 w 40"/>
              <a:gd name="T35" fmla="*/ 29040 h 41"/>
              <a:gd name="T36" fmla="*/ 204311 w 40"/>
              <a:gd name="T37" fmla="*/ 17424 h 41"/>
              <a:gd name="T38" fmla="*/ 188595 w 40"/>
              <a:gd name="T39" fmla="*/ 11616 h 41"/>
              <a:gd name="T40" fmla="*/ 180737 w 40"/>
              <a:gd name="T41" fmla="*/ 0 h 41"/>
              <a:gd name="T42" fmla="*/ 165021 w 40"/>
              <a:gd name="T43" fmla="*/ 5808 h 41"/>
              <a:gd name="T44" fmla="*/ 149304 w 40"/>
              <a:gd name="T45" fmla="*/ 29040 h 41"/>
              <a:gd name="T46" fmla="*/ 141446 w 40"/>
              <a:gd name="T47" fmla="*/ 34848 h 41"/>
              <a:gd name="T48" fmla="*/ 125730 w 40"/>
              <a:gd name="T49" fmla="*/ 52271 h 41"/>
              <a:gd name="T50" fmla="*/ 94297 w 40"/>
              <a:gd name="T51" fmla="*/ 52271 h 41"/>
              <a:gd name="T52" fmla="*/ 86439 w 40"/>
              <a:gd name="T53" fmla="*/ 46463 h 41"/>
              <a:gd name="T54" fmla="*/ 70723 w 40"/>
              <a:gd name="T55" fmla="*/ 46463 h 41"/>
              <a:gd name="T56" fmla="*/ 70723 w 40"/>
              <a:gd name="T57" fmla="*/ 58079 h 41"/>
              <a:gd name="T58" fmla="*/ 78581 w 40"/>
              <a:gd name="T59" fmla="*/ 69695 h 41"/>
              <a:gd name="T60" fmla="*/ 55007 w 40"/>
              <a:gd name="T61" fmla="*/ 69695 h 41"/>
              <a:gd name="T62" fmla="*/ 47149 w 40"/>
              <a:gd name="T63" fmla="*/ 69695 h 41"/>
              <a:gd name="T64" fmla="*/ 23574 w 40"/>
              <a:gd name="T65" fmla="*/ 69695 h 41"/>
              <a:gd name="T66" fmla="*/ 0 w 40"/>
              <a:gd name="T67" fmla="*/ 75503 h 41"/>
              <a:gd name="T68" fmla="*/ 0 w 40"/>
              <a:gd name="T69" fmla="*/ 81311 h 41"/>
              <a:gd name="T70" fmla="*/ 0 w 40"/>
              <a:gd name="T71" fmla="*/ 92927 h 41"/>
              <a:gd name="T72" fmla="*/ 31433 w 40"/>
              <a:gd name="T73" fmla="*/ 104543 h 41"/>
              <a:gd name="T74" fmla="*/ 55007 w 40"/>
              <a:gd name="T75" fmla="*/ 104543 h 41"/>
              <a:gd name="T76" fmla="*/ 62865 w 40"/>
              <a:gd name="T77" fmla="*/ 110351 h 41"/>
              <a:gd name="T78" fmla="*/ 62865 w 40"/>
              <a:gd name="T79" fmla="*/ 116159 h 41"/>
              <a:gd name="T80" fmla="*/ 70723 w 40"/>
              <a:gd name="T81" fmla="*/ 127774 h 41"/>
              <a:gd name="T82" fmla="*/ 78581 w 40"/>
              <a:gd name="T83" fmla="*/ 145198 h 41"/>
              <a:gd name="T84" fmla="*/ 86439 w 40"/>
              <a:gd name="T85" fmla="*/ 151006 h 41"/>
              <a:gd name="T86" fmla="*/ 86439 w 40"/>
              <a:gd name="T87" fmla="*/ 168430 h 41"/>
              <a:gd name="T88" fmla="*/ 78581 w 40"/>
              <a:gd name="T89" fmla="*/ 214893 h 41"/>
              <a:gd name="T90" fmla="*/ 78581 w 40"/>
              <a:gd name="T91" fmla="*/ 214893 h 41"/>
              <a:gd name="T92" fmla="*/ 86439 w 40"/>
              <a:gd name="T93" fmla="*/ 226509 h 41"/>
              <a:gd name="T94" fmla="*/ 94297 w 40"/>
              <a:gd name="T95" fmla="*/ 226509 h 41"/>
              <a:gd name="T96" fmla="*/ 110014 w 40"/>
              <a:gd name="T97" fmla="*/ 226509 h 41"/>
              <a:gd name="T98" fmla="*/ 133588 w 40"/>
              <a:gd name="T99" fmla="*/ 232317 h 41"/>
              <a:gd name="T100" fmla="*/ 149304 w 40"/>
              <a:gd name="T101" fmla="*/ 232317 h 41"/>
              <a:gd name="T102" fmla="*/ 172879 w 40"/>
              <a:gd name="T103" fmla="*/ 238125 h 41"/>
              <a:gd name="T104" fmla="*/ 188595 w 40"/>
              <a:gd name="T105" fmla="*/ 238125 h 41"/>
              <a:gd name="T106" fmla="*/ 196453 w 40"/>
              <a:gd name="T107" fmla="*/ 220701 h 41"/>
              <a:gd name="T108" fmla="*/ 220027 w 40"/>
              <a:gd name="T109" fmla="*/ 214893 h 41"/>
              <a:gd name="T110" fmla="*/ 251460 w 40"/>
              <a:gd name="T111" fmla="*/ 220701 h 41"/>
              <a:gd name="T112" fmla="*/ 298609 w 40"/>
              <a:gd name="T113" fmla="*/ 197470 h 41"/>
              <a:gd name="T114" fmla="*/ 306467 w 40"/>
              <a:gd name="T115" fmla="*/ 197470 h 41"/>
              <a:gd name="T116" fmla="*/ 290751 w 40"/>
              <a:gd name="T117" fmla="*/ 185854 h 41"/>
              <a:gd name="T118" fmla="*/ 282893 w 40"/>
              <a:gd name="T119" fmla="*/ 168430 h 4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0"/>
              <a:gd name="T181" fmla="*/ 0 h 41"/>
              <a:gd name="T182" fmla="*/ 40 w 40"/>
              <a:gd name="T183" fmla="*/ 41 h 4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0" h="41">
                <a:moveTo>
                  <a:pt x="36" y="29"/>
                </a:moveTo>
                <a:cubicBezTo>
                  <a:pt x="37" y="27"/>
                  <a:pt x="37" y="27"/>
                  <a:pt x="37" y="27"/>
                </a:cubicBezTo>
                <a:cubicBezTo>
                  <a:pt x="37" y="25"/>
                  <a:pt x="37" y="25"/>
                  <a:pt x="37" y="25"/>
                </a:cubicBezTo>
                <a:cubicBezTo>
                  <a:pt x="37" y="25"/>
                  <a:pt x="37" y="25"/>
                  <a:pt x="37" y="25"/>
                </a:cubicBezTo>
                <a:cubicBezTo>
                  <a:pt x="36" y="23"/>
                  <a:pt x="36" y="23"/>
                  <a:pt x="36" y="23"/>
                </a:cubicBezTo>
                <a:cubicBezTo>
                  <a:pt x="34" y="23"/>
                  <a:pt x="34" y="23"/>
                  <a:pt x="34" y="23"/>
                </a:cubicBezTo>
                <a:cubicBezTo>
                  <a:pt x="34" y="21"/>
                  <a:pt x="34" y="21"/>
                  <a:pt x="34" y="21"/>
                </a:cubicBezTo>
                <a:cubicBezTo>
                  <a:pt x="37" y="18"/>
                  <a:pt x="37" y="18"/>
                  <a:pt x="37" y="18"/>
                </a:cubicBezTo>
                <a:cubicBezTo>
                  <a:pt x="38" y="17"/>
                  <a:pt x="38" y="17"/>
                  <a:pt x="38" y="17"/>
                </a:cubicBezTo>
                <a:cubicBezTo>
                  <a:pt x="38" y="17"/>
                  <a:pt x="38" y="17"/>
                  <a:pt x="38" y="17"/>
                </a:cubicBezTo>
                <a:cubicBezTo>
                  <a:pt x="38" y="13"/>
                  <a:pt x="38" y="13"/>
                  <a:pt x="38" y="13"/>
                </a:cubicBezTo>
                <a:cubicBezTo>
                  <a:pt x="40" y="11"/>
                  <a:pt x="40" y="11"/>
                  <a:pt x="40" y="11"/>
                </a:cubicBezTo>
                <a:cubicBezTo>
                  <a:pt x="37" y="10"/>
                  <a:pt x="37" y="10"/>
                  <a:pt x="37" y="10"/>
                </a:cubicBezTo>
                <a:cubicBezTo>
                  <a:pt x="35" y="9"/>
                  <a:pt x="35" y="9"/>
                  <a:pt x="35" y="9"/>
                </a:cubicBezTo>
                <a:cubicBezTo>
                  <a:pt x="32" y="8"/>
                  <a:pt x="32" y="8"/>
                  <a:pt x="32" y="8"/>
                </a:cubicBezTo>
                <a:cubicBezTo>
                  <a:pt x="31" y="7"/>
                  <a:pt x="31" y="7"/>
                  <a:pt x="31" y="7"/>
                </a:cubicBezTo>
                <a:cubicBezTo>
                  <a:pt x="29" y="6"/>
                  <a:pt x="29" y="6"/>
                  <a:pt x="29" y="6"/>
                </a:cubicBezTo>
                <a:cubicBezTo>
                  <a:pt x="27" y="5"/>
                  <a:pt x="27" y="5"/>
                  <a:pt x="27" y="5"/>
                </a:cubicBezTo>
                <a:cubicBezTo>
                  <a:pt x="26" y="3"/>
                  <a:pt x="26" y="3"/>
                  <a:pt x="26" y="3"/>
                </a:cubicBezTo>
                <a:cubicBezTo>
                  <a:pt x="24" y="2"/>
                  <a:pt x="24" y="2"/>
                  <a:pt x="24" y="2"/>
                </a:cubicBezTo>
                <a:cubicBezTo>
                  <a:pt x="23" y="0"/>
                  <a:pt x="23" y="0"/>
                  <a:pt x="23" y="0"/>
                </a:cubicBezTo>
                <a:cubicBezTo>
                  <a:pt x="21" y="1"/>
                  <a:pt x="21" y="1"/>
                  <a:pt x="21" y="1"/>
                </a:cubicBezTo>
                <a:cubicBezTo>
                  <a:pt x="19" y="5"/>
                  <a:pt x="19" y="5"/>
                  <a:pt x="19" y="5"/>
                </a:cubicBezTo>
                <a:cubicBezTo>
                  <a:pt x="18" y="6"/>
                  <a:pt x="18" y="6"/>
                  <a:pt x="18" y="6"/>
                </a:cubicBezTo>
                <a:cubicBezTo>
                  <a:pt x="16" y="9"/>
                  <a:pt x="16" y="9"/>
                  <a:pt x="16" y="9"/>
                </a:cubicBezTo>
                <a:cubicBezTo>
                  <a:pt x="12" y="9"/>
                  <a:pt x="12" y="9"/>
                  <a:pt x="12" y="9"/>
                </a:cubicBezTo>
                <a:cubicBezTo>
                  <a:pt x="11" y="8"/>
                  <a:pt x="11" y="8"/>
                  <a:pt x="11" y="8"/>
                </a:cubicBezTo>
                <a:cubicBezTo>
                  <a:pt x="9" y="8"/>
                  <a:pt x="9" y="8"/>
                  <a:pt x="9" y="8"/>
                </a:cubicBezTo>
                <a:cubicBezTo>
                  <a:pt x="9" y="10"/>
                  <a:pt x="9" y="10"/>
                  <a:pt x="9" y="10"/>
                </a:cubicBezTo>
                <a:cubicBezTo>
                  <a:pt x="10" y="12"/>
                  <a:pt x="10" y="12"/>
                  <a:pt x="10" y="12"/>
                </a:cubicBezTo>
                <a:cubicBezTo>
                  <a:pt x="7" y="12"/>
                  <a:pt x="7" y="12"/>
                  <a:pt x="7" y="12"/>
                </a:cubicBezTo>
                <a:cubicBezTo>
                  <a:pt x="6" y="12"/>
                  <a:pt x="6" y="12"/>
                  <a:pt x="6" y="12"/>
                </a:cubicBezTo>
                <a:cubicBezTo>
                  <a:pt x="3" y="12"/>
                  <a:pt x="3" y="12"/>
                  <a:pt x="3" y="12"/>
                </a:cubicBezTo>
                <a:cubicBezTo>
                  <a:pt x="0" y="13"/>
                  <a:pt x="0" y="13"/>
                  <a:pt x="0" y="13"/>
                </a:cubicBezTo>
                <a:cubicBezTo>
                  <a:pt x="0" y="14"/>
                  <a:pt x="0" y="14"/>
                  <a:pt x="0" y="14"/>
                </a:cubicBezTo>
                <a:cubicBezTo>
                  <a:pt x="0" y="16"/>
                  <a:pt x="0" y="16"/>
                  <a:pt x="0" y="16"/>
                </a:cubicBezTo>
                <a:cubicBezTo>
                  <a:pt x="4" y="18"/>
                  <a:pt x="4" y="18"/>
                  <a:pt x="4" y="18"/>
                </a:cubicBezTo>
                <a:cubicBezTo>
                  <a:pt x="7" y="18"/>
                  <a:pt x="7" y="18"/>
                  <a:pt x="7" y="18"/>
                </a:cubicBezTo>
                <a:cubicBezTo>
                  <a:pt x="8" y="19"/>
                  <a:pt x="8" y="19"/>
                  <a:pt x="8" y="19"/>
                </a:cubicBezTo>
                <a:cubicBezTo>
                  <a:pt x="8" y="20"/>
                  <a:pt x="8" y="20"/>
                  <a:pt x="8" y="20"/>
                </a:cubicBezTo>
                <a:cubicBezTo>
                  <a:pt x="9" y="22"/>
                  <a:pt x="9" y="22"/>
                  <a:pt x="9" y="22"/>
                </a:cubicBezTo>
                <a:cubicBezTo>
                  <a:pt x="10" y="25"/>
                  <a:pt x="10" y="25"/>
                  <a:pt x="10" y="25"/>
                </a:cubicBezTo>
                <a:cubicBezTo>
                  <a:pt x="11" y="26"/>
                  <a:pt x="11" y="26"/>
                  <a:pt x="11" y="26"/>
                </a:cubicBezTo>
                <a:cubicBezTo>
                  <a:pt x="11" y="29"/>
                  <a:pt x="11" y="29"/>
                  <a:pt x="11" y="29"/>
                </a:cubicBezTo>
                <a:cubicBezTo>
                  <a:pt x="10" y="37"/>
                  <a:pt x="10" y="37"/>
                  <a:pt x="10" y="37"/>
                </a:cubicBezTo>
                <a:cubicBezTo>
                  <a:pt x="10" y="37"/>
                  <a:pt x="10" y="37"/>
                  <a:pt x="10" y="37"/>
                </a:cubicBezTo>
                <a:cubicBezTo>
                  <a:pt x="11" y="39"/>
                  <a:pt x="11" y="39"/>
                  <a:pt x="11" y="39"/>
                </a:cubicBezTo>
                <a:cubicBezTo>
                  <a:pt x="12" y="39"/>
                  <a:pt x="12" y="39"/>
                  <a:pt x="12" y="39"/>
                </a:cubicBezTo>
                <a:cubicBezTo>
                  <a:pt x="14" y="39"/>
                  <a:pt x="14" y="39"/>
                  <a:pt x="14" y="39"/>
                </a:cubicBezTo>
                <a:cubicBezTo>
                  <a:pt x="14" y="39"/>
                  <a:pt x="17" y="40"/>
                  <a:pt x="17" y="40"/>
                </a:cubicBezTo>
                <a:cubicBezTo>
                  <a:pt x="18" y="40"/>
                  <a:pt x="19" y="40"/>
                  <a:pt x="19" y="40"/>
                </a:cubicBezTo>
                <a:cubicBezTo>
                  <a:pt x="22" y="41"/>
                  <a:pt x="22" y="41"/>
                  <a:pt x="22" y="41"/>
                </a:cubicBezTo>
                <a:cubicBezTo>
                  <a:pt x="24" y="41"/>
                  <a:pt x="24" y="41"/>
                  <a:pt x="24" y="41"/>
                </a:cubicBezTo>
                <a:cubicBezTo>
                  <a:pt x="25" y="38"/>
                  <a:pt x="25" y="38"/>
                  <a:pt x="25" y="38"/>
                </a:cubicBezTo>
                <a:cubicBezTo>
                  <a:pt x="28" y="37"/>
                  <a:pt x="28" y="37"/>
                  <a:pt x="28" y="37"/>
                </a:cubicBezTo>
                <a:cubicBezTo>
                  <a:pt x="32" y="38"/>
                  <a:pt x="32" y="38"/>
                  <a:pt x="32" y="38"/>
                </a:cubicBezTo>
                <a:cubicBezTo>
                  <a:pt x="38" y="34"/>
                  <a:pt x="38" y="34"/>
                  <a:pt x="38" y="34"/>
                </a:cubicBezTo>
                <a:cubicBezTo>
                  <a:pt x="39" y="34"/>
                  <a:pt x="39" y="34"/>
                  <a:pt x="39" y="34"/>
                </a:cubicBezTo>
                <a:cubicBezTo>
                  <a:pt x="37" y="32"/>
                  <a:pt x="37" y="32"/>
                  <a:pt x="37" y="32"/>
                </a:cubicBezTo>
                <a:lnTo>
                  <a:pt x="36" y="29"/>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13" name="Freeform 1383"/>
          <p:cNvSpPr>
            <a:spLocks/>
          </p:cNvSpPr>
          <p:nvPr/>
        </p:nvSpPr>
        <p:spPr bwMode="auto">
          <a:xfrm>
            <a:off x="4614292" y="3297387"/>
            <a:ext cx="290512" cy="220662"/>
          </a:xfrm>
          <a:custGeom>
            <a:avLst/>
            <a:gdLst>
              <a:gd name="T0" fmla="*/ 164120 w 154"/>
              <a:gd name="T1" fmla="*/ 5731 h 154"/>
              <a:gd name="T2" fmla="*/ 133937 w 154"/>
              <a:gd name="T3" fmla="*/ 0 h 154"/>
              <a:gd name="T4" fmla="*/ 101868 w 154"/>
              <a:gd name="T5" fmla="*/ 0 h 154"/>
              <a:gd name="T6" fmla="*/ 94322 w 154"/>
              <a:gd name="T7" fmla="*/ 5731 h 154"/>
              <a:gd name="T8" fmla="*/ 86776 w 154"/>
              <a:gd name="T9" fmla="*/ 5731 h 154"/>
              <a:gd name="T10" fmla="*/ 69798 w 154"/>
              <a:gd name="T11" fmla="*/ 11463 h 154"/>
              <a:gd name="T12" fmla="*/ 47161 w 154"/>
              <a:gd name="T13" fmla="*/ 17194 h 154"/>
              <a:gd name="T14" fmla="*/ 39615 w 154"/>
              <a:gd name="T15" fmla="*/ 11463 h 154"/>
              <a:gd name="T16" fmla="*/ 15092 w 154"/>
              <a:gd name="T17" fmla="*/ 22926 h 154"/>
              <a:gd name="T18" fmla="*/ 7546 w 154"/>
              <a:gd name="T19" fmla="*/ 22926 h 154"/>
              <a:gd name="T20" fmla="*/ 7546 w 154"/>
              <a:gd name="T21" fmla="*/ 35822 h 154"/>
              <a:gd name="T22" fmla="*/ 0 w 154"/>
              <a:gd name="T23" fmla="*/ 47285 h 154"/>
              <a:gd name="T24" fmla="*/ 7546 w 154"/>
              <a:gd name="T25" fmla="*/ 64479 h 154"/>
              <a:gd name="T26" fmla="*/ 22637 w 154"/>
              <a:gd name="T27" fmla="*/ 77375 h 154"/>
              <a:gd name="T28" fmla="*/ 39615 w 154"/>
              <a:gd name="T29" fmla="*/ 64479 h 154"/>
              <a:gd name="T30" fmla="*/ 79231 w 154"/>
              <a:gd name="T31" fmla="*/ 77375 h 154"/>
              <a:gd name="T32" fmla="*/ 101868 w 154"/>
              <a:gd name="T33" fmla="*/ 111764 h 154"/>
              <a:gd name="T34" fmla="*/ 126392 w 154"/>
              <a:gd name="T35" fmla="*/ 136123 h 154"/>
              <a:gd name="T36" fmla="*/ 181098 w 154"/>
              <a:gd name="T37" fmla="*/ 160481 h 154"/>
              <a:gd name="T38" fmla="*/ 215054 w 154"/>
              <a:gd name="T39" fmla="*/ 180542 h 154"/>
              <a:gd name="T40" fmla="*/ 199963 w 154"/>
              <a:gd name="T41" fmla="*/ 220662 h 154"/>
              <a:gd name="T42" fmla="*/ 250897 w 154"/>
              <a:gd name="T43" fmla="*/ 190572 h 154"/>
              <a:gd name="T44" fmla="*/ 250897 w 154"/>
              <a:gd name="T45" fmla="*/ 171944 h 154"/>
              <a:gd name="T46" fmla="*/ 275420 w 154"/>
              <a:gd name="T47" fmla="*/ 177676 h 154"/>
              <a:gd name="T48" fmla="*/ 290512 w 154"/>
              <a:gd name="T49" fmla="*/ 177676 h 154"/>
              <a:gd name="T50" fmla="*/ 250897 w 154"/>
              <a:gd name="T51" fmla="*/ 149018 h 154"/>
              <a:gd name="T52" fmla="*/ 220714 w 154"/>
              <a:gd name="T53" fmla="*/ 130391 h 154"/>
              <a:gd name="T54" fmla="*/ 196190 w 154"/>
              <a:gd name="T55" fmla="*/ 124660 h 154"/>
              <a:gd name="T56" fmla="*/ 164120 w 154"/>
              <a:gd name="T57" fmla="*/ 83106 h 154"/>
              <a:gd name="T58" fmla="*/ 149029 w 154"/>
              <a:gd name="T59" fmla="*/ 58748 h 154"/>
              <a:gd name="T60" fmla="*/ 156575 w 154"/>
              <a:gd name="T61" fmla="*/ 35822 h 154"/>
              <a:gd name="T62" fmla="*/ 164120 w 154"/>
              <a:gd name="T63" fmla="*/ 35822 h 154"/>
              <a:gd name="T64" fmla="*/ 164120 w 154"/>
              <a:gd name="T65" fmla="*/ 22926 h 154"/>
              <a:gd name="T66" fmla="*/ 164120 w 154"/>
              <a:gd name="T67" fmla="*/ 5731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4"/>
              <a:gd name="T103" fmla="*/ 0 h 154"/>
              <a:gd name="T104" fmla="*/ 154 w 154"/>
              <a:gd name="T105" fmla="*/ 154 h 1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14" name="Freeform 1384"/>
          <p:cNvSpPr>
            <a:spLocks/>
          </p:cNvSpPr>
          <p:nvPr/>
        </p:nvSpPr>
        <p:spPr bwMode="auto">
          <a:xfrm>
            <a:off x="4584129" y="3057674"/>
            <a:ext cx="227013" cy="227013"/>
          </a:xfrm>
          <a:custGeom>
            <a:avLst/>
            <a:gdLst>
              <a:gd name="T0" fmla="*/ 39140 w 29"/>
              <a:gd name="T1" fmla="*/ 58208 h 39"/>
              <a:gd name="T2" fmla="*/ 31312 w 29"/>
              <a:gd name="T3" fmla="*/ 69850 h 39"/>
              <a:gd name="T4" fmla="*/ 31312 w 29"/>
              <a:gd name="T5" fmla="*/ 87313 h 39"/>
              <a:gd name="T6" fmla="*/ 15656 w 29"/>
              <a:gd name="T7" fmla="*/ 98954 h 39"/>
              <a:gd name="T8" fmla="*/ 15656 w 29"/>
              <a:gd name="T9" fmla="*/ 116417 h 39"/>
              <a:gd name="T10" fmla="*/ 7828 w 29"/>
              <a:gd name="T11" fmla="*/ 128059 h 39"/>
              <a:gd name="T12" fmla="*/ 7828 w 29"/>
              <a:gd name="T13" fmla="*/ 128059 h 39"/>
              <a:gd name="T14" fmla="*/ 15656 w 29"/>
              <a:gd name="T15" fmla="*/ 139700 h 39"/>
              <a:gd name="T16" fmla="*/ 7828 w 29"/>
              <a:gd name="T17" fmla="*/ 151342 h 39"/>
              <a:gd name="T18" fmla="*/ 0 w 29"/>
              <a:gd name="T19" fmla="*/ 162984 h 39"/>
              <a:gd name="T20" fmla="*/ 23484 w 29"/>
              <a:gd name="T21" fmla="*/ 168805 h 39"/>
              <a:gd name="T22" fmla="*/ 39140 w 29"/>
              <a:gd name="T23" fmla="*/ 174625 h 39"/>
              <a:gd name="T24" fmla="*/ 62624 w 29"/>
              <a:gd name="T25" fmla="*/ 180446 h 39"/>
              <a:gd name="T26" fmla="*/ 46968 w 29"/>
              <a:gd name="T27" fmla="*/ 192088 h 39"/>
              <a:gd name="T28" fmla="*/ 46968 w 29"/>
              <a:gd name="T29" fmla="*/ 215371 h 39"/>
              <a:gd name="T30" fmla="*/ 54796 w 29"/>
              <a:gd name="T31" fmla="*/ 221192 h 39"/>
              <a:gd name="T32" fmla="*/ 78280 w 29"/>
              <a:gd name="T33" fmla="*/ 215371 h 39"/>
              <a:gd name="T34" fmla="*/ 93936 w 29"/>
              <a:gd name="T35" fmla="*/ 221192 h 39"/>
              <a:gd name="T36" fmla="*/ 101764 w 29"/>
              <a:gd name="T37" fmla="*/ 221192 h 39"/>
              <a:gd name="T38" fmla="*/ 109592 w 29"/>
              <a:gd name="T39" fmla="*/ 221192 h 39"/>
              <a:gd name="T40" fmla="*/ 125249 w 29"/>
              <a:gd name="T41" fmla="*/ 221192 h 39"/>
              <a:gd name="T42" fmla="*/ 140905 w 29"/>
              <a:gd name="T43" fmla="*/ 221192 h 39"/>
              <a:gd name="T44" fmla="*/ 172217 w 29"/>
              <a:gd name="T45" fmla="*/ 215371 h 39"/>
              <a:gd name="T46" fmla="*/ 180045 w 29"/>
              <a:gd name="T47" fmla="*/ 215371 h 39"/>
              <a:gd name="T48" fmla="*/ 187873 w 29"/>
              <a:gd name="T49" fmla="*/ 209550 h 39"/>
              <a:gd name="T50" fmla="*/ 180045 w 29"/>
              <a:gd name="T51" fmla="*/ 197909 h 39"/>
              <a:gd name="T52" fmla="*/ 195701 w 29"/>
              <a:gd name="T53" fmla="*/ 192088 h 39"/>
              <a:gd name="T54" fmla="*/ 203529 w 29"/>
              <a:gd name="T55" fmla="*/ 186267 h 39"/>
              <a:gd name="T56" fmla="*/ 203529 w 29"/>
              <a:gd name="T57" fmla="*/ 186267 h 39"/>
              <a:gd name="T58" fmla="*/ 195701 w 29"/>
              <a:gd name="T59" fmla="*/ 180446 h 39"/>
              <a:gd name="T60" fmla="*/ 180045 w 29"/>
              <a:gd name="T61" fmla="*/ 162984 h 39"/>
              <a:gd name="T62" fmla="*/ 164389 w 29"/>
              <a:gd name="T63" fmla="*/ 151342 h 39"/>
              <a:gd name="T64" fmla="*/ 156561 w 29"/>
              <a:gd name="T65" fmla="*/ 145521 h 39"/>
              <a:gd name="T66" fmla="*/ 172217 w 29"/>
              <a:gd name="T67" fmla="*/ 139700 h 39"/>
              <a:gd name="T68" fmla="*/ 187873 w 29"/>
              <a:gd name="T69" fmla="*/ 133879 h 39"/>
              <a:gd name="T70" fmla="*/ 203529 w 29"/>
              <a:gd name="T71" fmla="*/ 128059 h 39"/>
              <a:gd name="T72" fmla="*/ 211357 w 29"/>
              <a:gd name="T73" fmla="*/ 122238 h 39"/>
              <a:gd name="T74" fmla="*/ 227013 w 29"/>
              <a:gd name="T75" fmla="*/ 128059 h 39"/>
              <a:gd name="T76" fmla="*/ 227013 w 29"/>
              <a:gd name="T77" fmla="*/ 122238 h 39"/>
              <a:gd name="T78" fmla="*/ 227013 w 29"/>
              <a:gd name="T79" fmla="*/ 104775 h 39"/>
              <a:gd name="T80" fmla="*/ 219185 w 29"/>
              <a:gd name="T81" fmla="*/ 81492 h 39"/>
              <a:gd name="T82" fmla="*/ 219185 w 29"/>
              <a:gd name="T83" fmla="*/ 64029 h 39"/>
              <a:gd name="T84" fmla="*/ 219185 w 29"/>
              <a:gd name="T85" fmla="*/ 58208 h 39"/>
              <a:gd name="T86" fmla="*/ 211357 w 29"/>
              <a:gd name="T87" fmla="*/ 40746 h 39"/>
              <a:gd name="T88" fmla="*/ 211357 w 29"/>
              <a:gd name="T89" fmla="*/ 29104 h 39"/>
              <a:gd name="T90" fmla="*/ 180045 w 29"/>
              <a:gd name="T91" fmla="*/ 17463 h 39"/>
              <a:gd name="T92" fmla="*/ 148733 w 29"/>
              <a:gd name="T93" fmla="*/ 29104 h 39"/>
              <a:gd name="T94" fmla="*/ 133077 w 29"/>
              <a:gd name="T95" fmla="*/ 23283 h 39"/>
              <a:gd name="T96" fmla="*/ 133077 w 29"/>
              <a:gd name="T97" fmla="*/ 11642 h 39"/>
              <a:gd name="T98" fmla="*/ 109592 w 29"/>
              <a:gd name="T99" fmla="*/ 5821 h 39"/>
              <a:gd name="T100" fmla="*/ 109592 w 29"/>
              <a:gd name="T101" fmla="*/ 5821 h 39"/>
              <a:gd name="T102" fmla="*/ 93936 w 29"/>
              <a:gd name="T103" fmla="*/ 0 h 39"/>
              <a:gd name="T104" fmla="*/ 86108 w 29"/>
              <a:gd name="T105" fmla="*/ 5821 h 39"/>
              <a:gd name="T106" fmla="*/ 86108 w 29"/>
              <a:gd name="T107" fmla="*/ 5821 h 39"/>
              <a:gd name="T108" fmla="*/ 78280 w 29"/>
              <a:gd name="T109" fmla="*/ 29104 h 39"/>
              <a:gd name="T110" fmla="*/ 70452 w 29"/>
              <a:gd name="T111" fmla="*/ 40746 h 39"/>
              <a:gd name="T112" fmla="*/ 54796 w 29"/>
              <a:gd name="T113" fmla="*/ 40746 h 39"/>
              <a:gd name="T114" fmla="*/ 39140 w 29"/>
              <a:gd name="T115" fmla="*/ 40746 h 39"/>
              <a:gd name="T116" fmla="*/ 39140 w 29"/>
              <a:gd name="T117" fmla="*/ 46567 h 39"/>
              <a:gd name="T118" fmla="*/ 39140 w 29"/>
              <a:gd name="T119" fmla="*/ 58208 h 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
              <a:gd name="T181" fmla="*/ 0 h 39"/>
              <a:gd name="T182" fmla="*/ 29 w 29"/>
              <a:gd name="T183" fmla="*/ 39 h 3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 h="39">
                <a:moveTo>
                  <a:pt x="5" y="10"/>
                </a:moveTo>
                <a:cubicBezTo>
                  <a:pt x="4" y="12"/>
                  <a:pt x="4" y="12"/>
                  <a:pt x="4" y="12"/>
                </a:cubicBezTo>
                <a:cubicBezTo>
                  <a:pt x="4" y="15"/>
                  <a:pt x="4" y="15"/>
                  <a:pt x="4" y="15"/>
                </a:cubicBezTo>
                <a:cubicBezTo>
                  <a:pt x="2" y="17"/>
                  <a:pt x="2" y="17"/>
                  <a:pt x="2" y="17"/>
                </a:cubicBezTo>
                <a:cubicBezTo>
                  <a:pt x="2" y="20"/>
                  <a:pt x="2" y="20"/>
                  <a:pt x="2" y="20"/>
                </a:cubicBezTo>
                <a:cubicBezTo>
                  <a:pt x="1" y="22"/>
                  <a:pt x="1" y="22"/>
                  <a:pt x="1" y="22"/>
                </a:cubicBezTo>
                <a:cubicBezTo>
                  <a:pt x="1" y="22"/>
                  <a:pt x="1" y="22"/>
                  <a:pt x="1" y="22"/>
                </a:cubicBezTo>
                <a:cubicBezTo>
                  <a:pt x="2" y="24"/>
                  <a:pt x="2" y="24"/>
                  <a:pt x="2" y="24"/>
                </a:cubicBezTo>
                <a:cubicBezTo>
                  <a:pt x="1" y="26"/>
                  <a:pt x="1" y="26"/>
                  <a:pt x="1" y="26"/>
                </a:cubicBezTo>
                <a:cubicBezTo>
                  <a:pt x="0" y="28"/>
                  <a:pt x="0" y="28"/>
                  <a:pt x="0" y="28"/>
                </a:cubicBezTo>
                <a:cubicBezTo>
                  <a:pt x="3" y="29"/>
                  <a:pt x="3" y="29"/>
                  <a:pt x="3" y="29"/>
                </a:cubicBezTo>
                <a:cubicBezTo>
                  <a:pt x="5" y="30"/>
                  <a:pt x="5" y="30"/>
                  <a:pt x="5" y="30"/>
                </a:cubicBezTo>
                <a:cubicBezTo>
                  <a:pt x="8" y="31"/>
                  <a:pt x="8" y="31"/>
                  <a:pt x="8" y="31"/>
                </a:cubicBezTo>
                <a:cubicBezTo>
                  <a:pt x="6" y="33"/>
                  <a:pt x="6" y="33"/>
                  <a:pt x="6" y="33"/>
                </a:cubicBezTo>
                <a:cubicBezTo>
                  <a:pt x="6" y="37"/>
                  <a:pt x="6" y="37"/>
                  <a:pt x="6" y="37"/>
                </a:cubicBezTo>
                <a:cubicBezTo>
                  <a:pt x="7" y="38"/>
                  <a:pt x="7" y="38"/>
                  <a:pt x="7" y="38"/>
                </a:cubicBezTo>
                <a:cubicBezTo>
                  <a:pt x="10" y="37"/>
                  <a:pt x="10" y="37"/>
                  <a:pt x="10" y="37"/>
                </a:cubicBezTo>
                <a:cubicBezTo>
                  <a:pt x="12" y="38"/>
                  <a:pt x="12" y="38"/>
                  <a:pt x="12" y="38"/>
                </a:cubicBezTo>
                <a:cubicBezTo>
                  <a:pt x="13" y="38"/>
                  <a:pt x="13" y="38"/>
                  <a:pt x="13" y="38"/>
                </a:cubicBezTo>
                <a:cubicBezTo>
                  <a:pt x="13" y="38"/>
                  <a:pt x="14" y="38"/>
                  <a:pt x="14" y="38"/>
                </a:cubicBezTo>
                <a:cubicBezTo>
                  <a:pt x="14" y="39"/>
                  <a:pt x="16" y="38"/>
                  <a:pt x="16" y="38"/>
                </a:cubicBezTo>
                <a:cubicBezTo>
                  <a:pt x="18" y="38"/>
                  <a:pt x="18" y="38"/>
                  <a:pt x="18" y="38"/>
                </a:cubicBezTo>
                <a:cubicBezTo>
                  <a:pt x="22" y="37"/>
                  <a:pt x="22" y="37"/>
                  <a:pt x="22" y="37"/>
                </a:cubicBezTo>
                <a:cubicBezTo>
                  <a:pt x="22" y="37"/>
                  <a:pt x="23" y="37"/>
                  <a:pt x="23" y="37"/>
                </a:cubicBezTo>
                <a:cubicBezTo>
                  <a:pt x="24" y="37"/>
                  <a:pt x="24" y="36"/>
                  <a:pt x="24" y="36"/>
                </a:cubicBezTo>
                <a:cubicBezTo>
                  <a:pt x="23" y="34"/>
                  <a:pt x="23" y="34"/>
                  <a:pt x="23" y="34"/>
                </a:cubicBezTo>
                <a:cubicBezTo>
                  <a:pt x="25" y="33"/>
                  <a:pt x="25" y="33"/>
                  <a:pt x="25" y="33"/>
                </a:cubicBezTo>
                <a:cubicBezTo>
                  <a:pt x="26" y="32"/>
                  <a:pt x="26" y="32"/>
                  <a:pt x="26" y="32"/>
                </a:cubicBezTo>
                <a:cubicBezTo>
                  <a:pt x="26" y="32"/>
                  <a:pt x="26" y="32"/>
                  <a:pt x="26" y="32"/>
                </a:cubicBezTo>
                <a:cubicBezTo>
                  <a:pt x="25" y="31"/>
                  <a:pt x="25" y="31"/>
                  <a:pt x="25" y="31"/>
                </a:cubicBezTo>
                <a:cubicBezTo>
                  <a:pt x="23" y="28"/>
                  <a:pt x="23" y="28"/>
                  <a:pt x="23" y="28"/>
                </a:cubicBezTo>
                <a:cubicBezTo>
                  <a:pt x="21" y="26"/>
                  <a:pt x="21" y="26"/>
                  <a:pt x="21" y="26"/>
                </a:cubicBezTo>
                <a:cubicBezTo>
                  <a:pt x="20" y="25"/>
                  <a:pt x="20" y="25"/>
                  <a:pt x="20" y="25"/>
                </a:cubicBezTo>
                <a:cubicBezTo>
                  <a:pt x="22" y="24"/>
                  <a:pt x="22" y="24"/>
                  <a:pt x="22" y="24"/>
                </a:cubicBezTo>
                <a:cubicBezTo>
                  <a:pt x="24" y="23"/>
                  <a:pt x="24" y="23"/>
                  <a:pt x="24" y="23"/>
                </a:cubicBezTo>
                <a:cubicBezTo>
                  <a:pt x="26" y="22"/>
                  <a:pt x="26" y="22"/>
                  <a:pt x="26" y="22"/>
                </a:cubicBezTo>
                <a:cubicBezTo>
                  <a:pt x="27" y="21"/>
                  <a:pt x="27" y="21"/>
                  <a:pt x="27" y="21"/>
                </a:cubicBezTo>
                <a:cubicBezTo>
                  <a:pt x="29" y="22"/>
                  <a:pt x="29" y="22"/>
                  <a:pt x="29" y="22"/>
                </a:cubicBezTo>
                <a:cubicBezTo>
                  <a:pt x="29" y="22"/>
                  <a:pt x="29" y="21"/>
                  <a:pt x="29" y="21"/>
                </a:cubicBezTo>
                <a:cubicBezTo>
                  <a:pt x="29" y="20"/>
                  <a:pt x="29" y="18"/>
                  <a:pt x="29" y="18"/>
                </a:cubicBezTo>
                <a:cubicBezTo>
                  <a:pt x="28" y="18"/>
                  <a:pt x="28" y="14"/>
                  <a:pt x="28" y="14"/>
                </a:cubicBezTo>
                <a:cubicBezTo>
                  <a:pt x="28" y="11"/>
                  <a:pt x="28" y="11"/>
                  <a:pt x="28" y="11"/>
                </a:cubicBezTo>
                <a:cubicBezTo>
                  <a:pt x="28" y="10"/>
                  <a:pt x="28" y="10"/>
                  <a:pt x="28" y="10"/>
                </a:cubicBezTo>
                <a:cubicBezTo>
                  <a:pt x="27" y="7"/>
                  <a:pt x="27" y="7"/>
                  <a:pt x="27" y="7"/>
                </a:cubicBezTo>
                <a:cubicBezTo>
                  <a:pt x="27" y="5"/>
                  <a:pt x="27" y="5"/>
                  <a:pt x="27" y="5"/>
                </a:cubicBezTo>
                <a:cubicBezTo>
                  <a:pt x="23" y="3"/>
                  <a:pt x="23" y="3"/>
                  <a:pt x="23" y="3"/>
                </a:cubicBezTo>
                <a:cubicBezTo>
                  <a:pt x="19" y="5"/>
                  <a:pt x="19" y="5"/>
                  <a:pt x="19" y="5"/>
                </a:cubicBezTo>
                <a:cubicBezTo>
                  <a:pt x="19" y="5"/>
                  <a:pt x="18" y="5"/>
                  <a:pt x="17" y="4"/>
                </a:cubicBezTo>
                <a:cubicBezTo>
                  <a:pt x="17" y="4"/>
                  <a:pt x="17" y="2"/>
                  <a:pt x="17" y="2"/>
                </a:cubicBezTo>
                <a:cubicBezTo>
                  <a:pt x="14" y="1"/>
                  <a:pt x="14" y="1"/>
                  <a:pt x="14" y="1"/>
                </a:cubicBezTo>
                <a:cubicBezTo>
                  <a:pt x="14" y="1"/>
                  <a:pt x="14" y="1"/>
                  <a:pt x="14" y="1"/>
                </a:cubicBezTo>
                <a:cubicBezTo>
                  <a:pt x="12" y="0"/>
                  <a:pt x="12" y="0"/>
                  <a:pt x="12" y="0"/>
                </a:cubicBezTo>
                <a:cubicBezTo>
                  <a:pt x="11" y="1"/>
                  <a:pt x="11" y="1"/>
                  <a:pt x="11" y="1"/>
                </a:cubicBezTo>
                <a:cubicBezTo>
                  <a:pt x="11" y="1"/>
                  <a:pt x="11" y="1"/>
                  <a:pt x="11" y="1"/>
                </a:cubicBezTo>
                <a:cubicBezTo>
                  <a:pt x="10" y="5"/>
                  <a:pt x="10" y="5"/>
                  <a:pt x="10" y="5"/>
                </a:cubicBezTo>
                <a:cubicBezTo>
                  <a:pt x="9" y="7"/>
                  <a:pt x="9" y="7"/>
                  <a:pt x="9" y="7"/>
                </a:cubicBezTo>
                <a:cubicBezTo>
                  <a:pt x="7" y="7"/>
                  <a:pt x="7" y="7"/>
                  <a:pt x="7" y="7"/>
                </a:cubicBezTo>
                <a:cubicBezTo>
                  <a:pt x="5" y="7"/>
                  <a:pt x="5" y="7"/>
                  <a:pt x="5" y="7"/>
                </a:cubicBezTo>
                <a:cubicBezTo>
                  <a:pt x="5" y="8"/>
                  <a:pt x="5" y="8"/>
                  <a:pt x="5" y="8"/>
                </a:cubicBezTo>
                <a:lnTo>
                  <a:pt x="5" y="10"/>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15" name="Freeform 1385"/>
          <p:cNvSpPr>
            <a:spLocks/>
          </p:cNvSpPr>
          <p:nvPr/>
        </p:nvSpPr>
        <p:spPr bwMode="auto">
          <a:xfrm>
            <a:off x="4536504" y="3097362"/>
            <a:ext cx="87313" cy="87312"/>
          </a:xfrm>
          <a:custGeom>
            <a:avLst/>
            <a:gdLst>
              <a:gd name="T0" fmla="*/ 23813 w 66"/>
              <a:gd name="T1" fmla="*/ 69850 h 90"/>
              <a:gd name="T2" fmla="*/ 39688 w 66"/>
              <a:gd name="T3" fmla="*/ 75670 h 90"/>
              <a:gd name="T4" fmla="*/ 47625 w 66"/>
              <a:gd name="T5" fmla="*/ 81491 h 90"/>
              <a:gd name="T6" fmla="*/ 55563 w 66"/>
              <a:gd name="T7" fmla="*/ 87312 h 90"/>
              <a:gd name="T8" fmla="*/ 63500 w 66"/>
              <a:gd name="T9" fmla="*/ 75670 h 90"/>
              <a:gd name="T10" fmla="*/ 63500 w 66"/>
              <a:gd name="T11" fmla="*/ 58208 h 90"/>
              <a:gd name="T12" fmla="*/ 79375 w 66"/>
              <a:gd name="T13" fmla="*/ 46566 h 90"/>
              <a:gd name="T14" fmla="*/ 79375 w 66"/>
              <a:gd name="T15" fmla="*/ 29104 h 90"/>
              <a:gd name="T16" fmla="*/ 87313 w 66"/>
              <a:gd name="T17" fmla="*/ 17462 h 90"/>
              <a:gd name="T18" fmla="*/ 87313 w 66"/>
              <a:gd name="T19" fmla="*/ 5821 h 90"/>
              <a:gd name="T20" fmla="*/ 87313 w 66"/>
              <a:gd name="T21" fmla="*/ 0 h 90"/>
              <a:gd name="T22" fmla="*/ 71438 w 66"/>
              <a:gd name="T23" fmla="*/ 5821 h 90"/>
              <a:gd name="T24" fmla="*/ 47625 w 66"/>
              <a:gd name="T25" fmla="*/ 11642 h 90"/>
              <a:gd name="T26" fmla="*/ 47625 w 66"/>
              <a:gd name="T27" fmla="*/ 29104 h 90"/>
              <a:gd name="T28" fmla="*/ 31750 w 66"/>
              <a:gd name="T29" fmla="*/ 17462 h 90"/>
              <a:gd name="T30" fmla="*/ 15875 w 66"/>
              <a:gd name="T31" fmla="*/ 52387 h 90"/>
              <a:gd name="T32" fmla="*/ 0 w 66"/>
              <a:gd name="T33" fmla="*/ 64029 h 90"/>
              <a:gd name="T34" fmla="*/ 7938 w 66"/>
              <a:gd name="T35" fmla="*/ 69850 h 90"/>
              <a:gd name="T36" fmla="*/ 23813 w 66"/>
              <a:gd name="T37" fmla="*/ 69850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90"/>
              <a:gd name="T59" fmla="*/ 66 w 66"/>
              <a:gd name="T60" fmla="*/ 90 h 9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16" name="Freeform 1386"/>
          <p:cNvSpPr>
            <a:spLocks/>
          </p:cNvSpPr>
          <p:nvPr/>
        </p:nvSpPr>
        <p:spPr bwMode="auto">
          <a:xfrm>
            <a:off x="4944492" y="3432324"/>
            <a:ext cx="157162" cy="115888"/>
          </a:xfrm>
          <a:custGeom>
            <a:avLst/>
            <a:gdLst>
              <a:gd name="T0" fmla="*/ 157162 w 120"/>
              <a:gd name="T1" fmla="*/ 5794 h 120"/>
              <a:gd name="T2" fmla="*/ 157162 w 120"/>
              <a:gd name="T3" fmla="*/ 0 h 120"/>
              <a:gd name="T4" fmla="*/ 149304 w 120"/>
              <a:gd name="T5" fmla="*/ 5794 h 120"/>
              <a:gd name="T6" fmla="*/ 125730 w 120"/>
              <a:gd name="T7" fmla="*/ 5794 h 120"/>
              <a:gd name="T8" fmla="*/ 78581 w 120"/>
              <a:gd name="T9" fmla="*/ 5794 h 120"/>
              <a:gd name="T10" fmla="*/ 78581 w 120"/>
              <a:gd name="T11" fmla="*/ 5794 h 120"/>
              <a:gd name="T12" fmla="*/ 55007 w 120"/>
              <a:gd name="T13" fmla="*/ 11589 h 120"/>
              <a:gd name="T14" fmla="*/ 23574 w 120"/>
              <a:gd name="T15" fmla="*/ 17383 h 120"/>
              <a:gd name="T16" fmla="*/ 23574 w 120"/>
              <a:gd name="T17" fmla="*/ 23178 h 120"/>
              <a:gd name="T18" fmla="*/ 15716 w 120"/>
              <a:gd name="T19" fmla="*/ 34766 h 120"/>
              <a:gd name="T20" fmla="*/ 0 w 120"/>
              <a:gd name="T21" fmla="*/ 46355 h 120"/>
              <a:gd name="T22" fmla="*/ 15716 w 120"/>
              <a:gd name="T23" fmla="*/ 63738 h 120"/>
              <a:gd name="T24" fmla="*/ 47149 w 120"/>
              <a:gd name="T25" fmla="*/ 69533 h 120"/>
              <a:gd name="T26" fmla="*/ 31432 w 120"/>
              <a:gd name="T27" fmla="*/ 81122 h 120"/>
              <a:gd name="T28" fmla="*/ 31432 w 120"/>
              <a:gd name="T29" fmla="*/ 104299 h 120"/>
              <a:gd name="T30" fmla="*/ 62865 w 120"/>
              <a:gd name="T31" fmla="*/ 115888 h 120"/>
              <a:gd name="T32" fmla="*/ 78581 w 120"/>
              <a:gd name="T33" fmla="*/ 104299 h 120"/>
              <a:gd name="T34" fmla="*/ 78581 w 120"/>
              <a:gd name="T35" fmla="*/ 92710 h 120"/>
              <a:gd name="T36" fmla="*/ 110013 w 120"/>
              <a:gd name="T37" fmla="*/ 81122 h 120"/>
              <a:gd name="T38" fmla="*/ 78581 w 120"/>
              <a:gd name="T39" fmla="*/ 57944 h 120"/>
              <a:gd name="T40" fmla="*/ 78581 w 120"/>
              <a:gd name="T41" fmla="*/ 46355 h 120"/>
              <a:gd name="T42" fmla="*/ 62865 w 120"/>
              <a:gd name="T43" fmla="*/ 28972 h 120"/>
              <a:gd name="T44" fmla="*/ 110013 w 120"/>
              <a:gd name="T45" fmla="*/ 23178 h 120"/>
              <a:gd name="T46" fmla="*/ 141446 w 120"/>
              <a:gd name="T47" fmla="*/ 17383 h 120"/>
              <a:gd name="T48" fmla="*/ 141446 w 120"/>
              <a:gd name="T49" fmla="*/ 23178 h 120"/>
              <a:gd name="T50" fmla="*/ 149304 w 120"/>
              <a:gd name="T51" fmla="*/ 17383 h 120"/>
              <a:gd name="T52" fmla="*/ 157162 w 120"/>
              <a:gd name="T53" fmla="*/ 5794 h 12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0"/>
              <a:gd name="T82" fmla="*/ 0 h 120"/>
              <a:gd name="T83" fmla="*/ 120 w 120"/>
              <a:gd name="T84" fmla="*/ 120 h 12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0" h="120">
                <a:moveTo>
                  <a:pt x="120" y="6"/>
                </a:moveTo>
                <a:lnTo>
                  <a:pt x="120" y="0"/>
                </a:lnTo>
                <a:lnTo>
                  <a:pt x="114" y="6"/>
                </a:lnTo>
                <a:lnTo>
                  <a:pt x="96" y="6"/>
                </a:lnTo>
                <a:lnTo>
                  <a:pt x="60" y="6"/>
                </a:lnTo>
                <a:lnTo>
                  <a:pt x="42" y="12"/>
                </a:lnTo>
                <a:lnTo>
                  <a:pt x="18" y="18"/>
                </a:lnTo>
                <a:lnTo>
                  <a:pt x="18" y="24"/>
                </a:lnTo>
                <a:lnTo>
                  <a:pt x="12" y="36"/>
                </a:lnTo>
                <a:lnTo>
                  <a:pt x="0" y="48"/>
                </a:lnTo>
                <a:lnTo>
                  <a:pt x="12" y="66"/>
                </a:lnTo>
                <a:lnTo>
                  <a:pt x="36" y="72"/>
                </a:lnTo>
                <a:lnTo>
                  <a:pt x="24" y="84"/>
                </a:lnTo>
                <a:lnTo>
                  <a:pt x="24" y="108"/>
                </a:lnTo>
                <a:lnTo>
                  <a:pt x="48" y="120"/>
                </a:lnTo>
                <a:lnTo>
                  <a:pt x="60" y="108"/>
                </a:lnTo>
                <a:lnTo>
                  <a:pt x="60" y="96"/>
                </a:lnTo>
                <a:lnTo>
                  <a:pt x="84" y="84"/>
                </a:lnTo>
                <a:lnTo>
                  <a:pt x="60" y="60"/>
                </a:lnTo>
                <a:lnTo>
                  <a:pt x="60" y="48"/>
                </a:lnTo>
                <a:lnTo>
                  <a:pt x="48" y="30"/>
                </a:lnTo>
                <a:lnTo>
                  <a:pt x="84" y="24"/>
                </a:lnTo>
                <a:lnTo>
                  <a:pt x="108" y="18"/>
                </a:lnTo>
                <a:lnTo>
                  <a:pt x="108" y="24"/>
                </a:lnTo>
                <a:lnTo>
                  <a:pt x="114" y="18"/>
                </a:lnTo>
                <a:lnTo>
                  <a:pt x="120" y="6"/>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17" name="Freeform 1387"/>
          <p:cNvSpPr>
            <a:spLocks/>
          </p:cNvSpPr>
          <p:nvPr/>
        </p:nvSpPr>
        <p:spPr bwMode="auto">
          <a:xfrm>
            <a:off x="4561904" y="2378224"/>
            <a:ext cx="649288" cy="574675"/>
          </a:xfrm>
          <a:custGeom>
            <a:avLst/>
            <a:gdLst>
              <a:gd name="T0" fmla="*/ 187746 w 83"/>
              <a:gd name="T1" fmla="*/ 504307 h 98"/>
              <a:gd name="T2" fmla="*/ 187746 w 83"/>
              <a:gd name="T3" fmla="*/ 469122 h 98"/>
              <a:gd name="T4" fmla="*/ 187746 w 83"/>
              <a:gd name="T5" fmla="*/ 439802 h 98"/>
              <a:gd name="T6" fmla="*/ 187746 w 83"/>
              <a:gd name="T7" fmla="*/ 381162 h 98"/>
              <a:gd name="T8" fmla="*/ 203391 w 83"/>
              <a:gd name="T9" fmla="*/ 351842 h 98"/>
              <a:gd name="T10" fmla="*/ 234682 w 83"/>
              <a:gd name="T11" fmla="*/ 328386 h 98"/>
              <a:gd name="T12" fmla="*/ 242505 w 83"/>
              <a:gd name="T13" fmla="*/ 293202 h 98"/>
              <a:gd name="T14" fmla="*/ 265973 w 83"/>
              <a:gd name="T15" fmla="*/ 252153 h 98"/>
              <a:gd name="T16" fmla="*/ 297264 w 83"/>
              <a:gd name="T17" fmla="*/ 205241 h 98"/>
              <a:gd name="T18" fmla="*/ 297264 w 83"/>
              <a:gd name="T19" fmla="*/ 175921 h 98"/>
              <a:gd name="T20" fmla="*/ 328555 w 83"/>
              <a:gd name="T21" fmla="*/ 164193 h 98"/>
              <a:gd name="T22" fmla="*/ 367669 w 83"/>
              <a:gd name="T23" fmla="*/ 140737 h 98"/>
              <a:gd name="T24" fmla="*/ 383315 w 83"/>
              <a:gd name="T25" fmla="*/ 129009 h 98"/>
              <a:gd name="T26" fmla="*/ 398960 w 83"/>
              <a:gd name="T27" fmla="*/ 111417 h 98"/>
              <a:gd name="T28" fmla="*/ 414606 w 83"/>
              <a:gd name="T29" fmla="*/ 99689 h 98"/>
              <a:gd name="T30" fmla="*/ 438074 w 83"/>
              <a:gd name="T31" fmla="*/ 123145 h 98"/>
              <a:gd name="T32" fmla="*/ 485010 w 83"/>
              <a:gd name="T33" fmla="*/ 123145 h 98"/>
              <a:gd name="T34" fmla="*/ 516301 w 83"/>
              <a:gd name="T35" fmla="*/ 111417 h 98"/>
              <a:gd name="T36" fmla="*/ 547592 w 83"/>
              <a:gd name="T37" fmla="*/ 70368 h 98"/>
              <a:gd name="T38" fmla="*/ 610174 w 83"/>
              <a:gd name="T39" fmla="*/ 82096 h 98"/>
              <a:gd name="T40" fmla="*/ 602352 w 83"/>
              <a:gd name="T41" fmla="*/ 111417 h 98"/>
              <a:gd name="T42" fmla="*/ 602352 w 83"/>
              <a:gd name="T43" fmla="*/ 111417 h 98"/>
              <a:gd name="T44" fmla="*/ 633643 w 83"/>
              <a:gd name="T45" fmla="*/ 87960 h 98"/>
              <a:gd name="T46" fmla="*/ 633643 w 83"/>
              <a:gd name="T47" fmla="*/ 70368 h 98"/>
              <a:gd name="T48" fmla="*/ 649288 w 83"/>
              <a:gd name="T49" fmla="*/ 35184 h 98"/>
              <a:gd name="T50" fmla="*/ 594529 w 83"/>
              <a:gd name="T51" fmla="*/ 0 h 98"/>
              <a:gd name="T52" fmla="*/ 539770 w 83"/>
              <a:gd name="T53" fmla="*/ 11728 h 98"/>
              <a:gd name="T54" fmla="*/ 516301 w 83"/>
              <a:gd name="T55" fmla="*/ 5864 h 98"/>
              <a:gd name="T56" fmla="*/ 461542 w 83"/>
              <a:gd name="T57" fmla="*/ 29320 h 98"/>
              <a:gd name="T58" fmla="*/ 430251 w 83"/>
              <a:gd name="T59" fmla="*/ 35184 h 98"/>
              <a:gd name="T60" fmla="*/ 391137 w 83"/>
              <a:gd name="T61" fmla="*/ 46912 h 98"/>
              <a:gd name="T62" fmla="*/ 336378 w 83"/>
              <a:gd name="T63" fmla="*/ 82096 h 98"/>
              <a:gd name="T64" fmla="*/ 312910 w 83"/>
              <a:gd name="T65" fmla="*/ 129009 h 98"/>
              <a:gd name="T66" fmla="*/ 250328 w 83"/>
              <a:gd name="T67" fmla="*/ 164193 h 98"/>
              <a:gd name="T68" fmla="*/ 219037 w 83"/>
              <a:gd name="T69" fmla="*/ 222833 h 98"/>
              <a:gd name="T70" fmla="*/ 195569 w 83"/>
              <a:gd name="T71" fmla="*/ 269745 h 98"/>
              <a:gd name="T72" fmla="*/ 132987 w 83"/>
              <a:gd name="T73" fmla="*/ 351842 h 98"/>
              <a:gd name="T74" fmla="*/ 62582 w 83"/>
              <a:gd name="T75" fmla="*/ 381162 h 98"/>
              <a:gd name="T76" fmla="*/ 31291 w 83"/>
              <a:gd name="T77" fmla="*/ 416346 h 98"/>
              <a:gd name="T78" fmla="*/ 15645 w 83"/>
              <a:gd name="T79" fmla="*/ 445666 h 98"/>
              <a:gd name="T80" fmla="*/ 7823 w 83"/>
              <a:gd name="T81" fmla="*/ 492579 h 98"/>
              <a:gd name="T82" fmla="*/ 23468 w 83"/>
              <a:gd name="T83" fmla="*/ 533627 h 98"/>
              <a:gd name="T84" fmla="*/ 54759 w 83"/>
              <a:gd name="T85" fmla="*/ 574675 h 98"/>
              <a:gd name="T86" fmla="*/ 125164 w 83"/>
              <a:gd name="T87" fmla="*/ 545355 h 98"/>
              <a:gd name="T88" fmla="*/ 156455 w 83"/>
              <a:gd name="T89" fmla="*/ 539491 h 98"/>
              <a:gd name="T90" fmla="*/ 164278 w 83"/>
              <a:gd name="T91" fmla="*/ 539491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3"/>
              <a:gd name="T139" fmla="*/ 0 h 98"/>
              <a:gd name="T140" fmla="*/ 83 w 83"/>
              <a:gd name="T141" fmla="*/ 98 h 9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18" name="Freeform 1388"/>
          <p:cNvSpPr>
            <a:spLocks/>
          </p:cNvSpPr>
          <p:nvPr/>
        </p:nvSpPr>
        <p:spPr bwMode="auto">
          <a:xfrm>
            <a:off x="4717479" y="2489349"/>
            <a:ext cx="320675" cy="557213"/>
          </a:xfrm>
          <a:custGeom>
            <a:avLst/>
            <a:gdLst>
              <a:gd name="T0" fmla="*/ 320675 w 41"/>
              <a:gd name="T1" fmla="*/ 123173 h 95"/>
              <a:gd name="T2" fmla="*/ 312854 w 41"/>
              <a:gd name="T3" fmla="*/ 87981 h 95"/>
              <a:gd name="T4" fmla="*/ 297211 w 41"/>
              <a:gd name="T5" fmla="*/ 35192 h 95"/>
              <a:gd name="T6" fmla="*/ 273747 w 41"/>
              <a:gd name="T7" fmla="*/ 29327 h 95"/>
              <a:gd name="T8" fmla="*/ 242462 w 41"/>
              <a:gd name="T9" fmla="*/ 0 h 95"/>
              <a:gd name="T10" fmla="*/ 226819 w 41"/>
              <a:gd name="T11" fmla="*/ 17596 h 95"/>
              <a:gd name="T12" fmla="*/ 211176 w 41"/>
              <a:gd name="T13" fmla="*/ 29327 h 95"/>
              <a:gd name="T14" fmla="*/ 172070 w 41"/>
              <a:gd name="T15" fmla="*/ 52789 h 95"/>
              <a:gd name="T16" fmla="*/ 140784 w 41"/>
              <a:gd name="T17" fmla="*/ 64519 h 95"/>
              <a:gd name="T18" fmla="*/ 140784 w 41"/>
              <a:gd name="T19" fmla="*/ 93846 h 95"/>
              <a:gd name="T20" fmla="*/ 109499 w 41"/>
              <a:gd name="T21" fmla="*/ 140770 h 95"/>
              <a:gd name="T22" fmla="*/ 86035 w 41"/>
              <a:gd name="T23" fmla="*/ 181827 h 95"/>
              <a:gd name="T24" fmla="*/ 78213 w 41"/>
              <a:gd name="T25" fmla="*/ 217020 h 95"/>
              <a:gd name="T26" fmla="*/ 46928 w 41"/>
              <a:gd name="T27" fmla="*/ 240481 h 95"/>
              <a:gd name="T28" fmla="*/ 31285 w 41"/>
              <a:gd name="T29" fmla="*/ 269808 h 95"/>
              <a:gd name="T30" fmla="*/ 31285 w 41"/>
              <a:gd name="T31" fmla="*/ 328462 h 95"/>
              <a:gd name="T32" fmla="*/ 31285 w 41"/>
              <a:gd name="T33" fmla="*/ 357789 h 95"/>
              <a:gd name="T34" fmla="*/ 31285 w 41"/>
              <a:gd name="T35" fmla="*/ 392982 h 95"/>
              <a:gd name="T36" fmla="*/ 7821 w 41"/>
              <a:gd name="T37" fmla="*/ 428174 h 95"/>
              <a:gd name="T38" fmla="*/ 15643 w 41"/>
              <a:gd name="T39" fmla="*/ 463367 h 95"/>
              <a:gd name="T40" fmla="*/ 39107 w 41"/>
              <a:gd name="T41" fmla="*/ 516155 h 95"/>
              <a:gd name="T42" fmla="*/ 46928 w 41"/>
              <a:gd name="T43" fmla="*/ 545482 h 95"/>
              <a:gd name="T44" fmla="*/ 78213 w 41"/>
              <a:gd name="T45" fmla="*/ 551348 h 95"/>
              <a:gd name="T46" fmla="*/ 101677 w 41"/>
              <a:gd name="T47" fmla="*/ 527886 h 95"/>
              <a:gd name="T48" fmla="*/ 140784 w 41"/>
              <a:gd name="T49" fmla="*/ 504424 h 95"/>
              <a:gd name="T50" fmla="*/ 148605 w 41"/>
              <a:gd name="T51" fmla="*/ 439905 h 95"/>
              <a:gd name="T52" fmla="*/ 187712 w 41"/>
              <a:gd name="T53" fmla="*/ 428174 h 95"/>
              <a:gd name="T54" fmla="*/ 179891 w 41"/>
              <a:gd name="T55" fmla="*/ 381251 h 95"/>
              <a:gd name="T56" fmla="*/ 164248 w 41"/>
              <a:gd name="T57" fmla="*/ 328462 h 95"/>
              <a:gd name="T58" fmla="*/ 187712 w 41"/>
              <a:gd name="T59" fmla="*/ 269808 h 95"/>
              <a:gd name="T60" fmla="*/ 258104 w 41"/>
              <a:gd name="T61" fmla="*/ 234616 h 95"/>
              <a:gd name="T62" fmla="*/ 258104 w 41"/>
              <a:gd name="T63" fmla="*/ 199424 h 95"/>
              <a:gd name="T64" fmla="*/ 297211 w 41"/>
              <a:gd name="T65" fmla="*/ 158366 h 95"/>
              <a:gd name="T66" fmla="*/ 320675 w 41"/>
              <a:gd name="T67" fmla="*/ 158366 h 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
              <a:gd name="T103" fmla="*/ 0 h 95"/>
              <a:gd name="T104" fmla="*/ 41 w 41"/>
              <a:gd name="T105" fmla="*/ 95 h 9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 h="95">
                <a:moveTo>
                  <a:pt x="41" y="22"/>
                </a:moveTo>
                <a:cubicBezTo>
                  <a:pt x="41" y="21"/>
                  <a:pt x="41" y="21"/>
                  <a:pt x="41" y="21"/>
                </a:cubicBezTo>
                <a:cubicBezTo>
                  <a:pt x="40" y="18"/>
                  <a:pt x="40" y="18"/>
                  <a:pt x="40" y="18"/>
                </a:cubicBezTo>
                <a:cubicBezTo>
                  <a:pt x="40" y="15"/>
                  <a:pt x="40" y="15"/>
                  <a:pt x="40" y="15"/>
                </a:cubicBezTo>
                <a:cubicBezTo>
                  <a:pt x="40" y="11"/>
                  <a:pt x="40" y="11"/>
                  <a:pt x="40" y="11"/>
                </a:cubicBezTo>
                <a:cubicBezTo>
                  <a:pt x="38" y="6"/>
                  <a:pt x="38" y="6"/>
                  <a:pt x="38" y="6"/>
                </a:cubicBezTo>
                <a:cubicBezTo>
                  <a:pt x="37" y="6"/>
                  <a:pt x="37" y="6"/>
                  <a:pt x="37" y="6"/>
                </a:cubicBezTo>
                <a:cubicBezTo>
                  <a:pt x="35" y="5"/>
                  <a:pt x="35" y="5"/>
                  <a:pt x="35" y="5"/>
                </a:cubicBezTo>
                <a:cubicBezTo>
                  <a:pt x="32" y="2"/>
                  <a:pt x="32" y="2"/>
                  <a:pt x="32" y="2"/>
                </a:cubicBezTo>
                <a:cubicBezTo>
                  <a:pt x="31" y="0"/>
                  <a:pt x="31" y="0"/>
                  <a:pt x="31" y="0"/>
                </a:cubicBezTo>
                <a:cubicBezTo>
                  <a:pt x="30" y="0"/>
                  <a:pt x="30" y="0"/>
                  <a:pt x="30" y="0"/>
                </a:cubicBezTo>
                <a:cubicBezTo>
                  <a:pt x="29" y="3"/>
                  <a:pt x="29" y="3"/>
                  <a:pt x="29" y="3"/>
                </a:cubicBezTo>
                <a:cubicBezTo>
                  <a:pt x="29" y="5"/>
                  <a:pt x="29" y="5"/>
                  <a:pt x="29" y="5"/>
                </a:cubicBezTo>
                <a:cubicBezTo>
                  <a:pt x="27" y="5"/>
                  <a:pt x="27" y="5"/>
                  <a:pt x="27" y="5"/>
                </a:cubicBezTo>
                <a:cubicBezTo>
                  <a:pt x="24" y="5"/>
                  <a:pt x="24" y="5"/>
                  <a:pt x="24" y="5"/>
                </a:cubicBezTo>
                <a:cubicBezTo>
                  <a:pt x="22" y="9"/>
                  <a:pt x="22" y="9"/>
                  <a:pt x="22" y="9"/>
                </a:cubicBezTo>
                <a:cubicBezTo>
                  <a:pt x="21" y="9"/>
                  <a:pt x="21" y="9"/>
                  <a:pt x="21" y="9"/>
                </a:cubicBezTo>
                <a:cubicBezTo>
                  <a:pt x="18" y="11"/>
                  <a:pt x="18" y="11"/>
                  <a:pt x="18" y="11"/>
                </a:cubicBezTo>
                <a:cubicBezTo>
                  <a:pt x="17" y="13"/>
                  <a:pt x="17" y="13"/>
                  <a:pt x="17" y="13"/>
                </a:cubicBezTo>
                <a:cubicBezTo>
                  <a:pt x="18" y="16"/>
                  <a:pt x="18" y="16"/>
                  <a:pt x="18" y="16"/>
                </a:cubicBezTo>
                <a:cubicBezTo>
                  <a:pt x="16" y="19"/>
                  <a:pt x="16" y="19"/>
                  <a:pt x="16" y="19"/>
                </a:cubicBezTo>
                <a:cubicBezTo>
                  <a:pt x="14" y="24"/>
                  <a:pt x="14" y="24"/>
                  <a:pt x="14" y="24"/>
                </a:cubicBezTo>
                <a:cubicBezTo>
                  <a:pt x="12" y="25"/>
                  <a:pt x="12" y="25"/>
                  <a:pt x="12" y="25"/>
                </a:cubicBezTo>
                <a:cubicBezTo>
                  <a:pt x="11" y="31"/>
                  <a:pt x="11" y="31"/>
                  <a:pt x="11" y="31"/>
                </a:cubicBezTo>
                <a:cubicBezTo>
                  <a:pt x="9" y="35"/>
                  <a:pt x="9" y="35"/>
                  <a:pt x="9" y="35"/>
                </a:cubicBezTo>
                <a:cubicBezTo>
                  <a:pt x="10" y="37"/>
                  <a:pt x="10" y="37"/>
                  <a:pt x="10" y="37"/>
                </a:cubicBezTo>
                <a:cubicBezTo>
                  <a:pt x="10" y="40"/>
                  <a:pt x="10" y="40"/>
                  <a:pt x="10" y="40"/>
                </a:cubicBezTo>
                <a:cubicBezTo>
                  <a:pt x="6" y="41"/>
                  <a:pt x="6" y="41"/>
                  <a:pt x="6" y="41"/>
                </a:cubicBezTo>
                <a:cubicBezTo>
                  <a:pt x="4" y="43"/>
                  <a:pt x="4" y="43"/>
                  <a:pt x="4" y="43"/>
                </a:cubicBezTo>
                <a:cubicBezTo>
                  <a:pt x="4" y="43"/>
                  <a:pt x="4" y="46"/>
                  <a:pt x="4" y="46"/>
                </a:cubicBezTo>
                <a:cubicBezTo>
                  <a:pt x="4" y="46"/>
                  <a:pt x="3" y="50"/>
                  <a:pt x="3" y="51"/>
                </a:cubicBezTo>
                <a:cubicBezTo>
                  <a:pt x="3" y="51"/>
                  <a:pt x="4" y="56"/>
                  <a:pt x="4" y="56"/>
                </a:cubicBezTo>
                <a:cubicBezTo>
                  <a:pt x="6" y="59"/>
                  <a:pt x="6" y="59"/>
                  <a:pt x="6" y="59"/>
                </a:cubicBezTo>
                <a:cubicBezTo>
                  <a:pt x="4" y="61"/>
                  <a:pt x="4" y="61"/>
                  <a:pt x="4" y="61"/>
                </a:cubicBezTo>
                <a:cubicBezTo>
                  <a:pt x="4" y="63"/>
                  <a:pt x="4" y="63"/>
                  <a:pt x="4" y="63"/>
                </a:cubicBezTo>
                <a:cubicBezTo>
                  <a:pt x="4" y="63"/>
                  <a:pt x="4" y="67"/>
                  <a:pt x="4" y="67"/>
                </a:cubicBezTo>
                <a:cubicBezTo>
                  <a:pt x="4" y="68"/>
                  <a:pt x="3" y="68"/>
                  <a:pt x="3" y="68"/>
                </a:cubicBezTo>
                <a:cubicBezTo>
                  <a:pt x="1" y="73"/>
                  <a:pt x="1" y="73"/>
                  <a:pt x="1" y="73"/>
                </a:cubicBezTo>
                <a:cubicBezTo>
                  <a:pt x="0" y="74"/>
                  <a:pt x="0" y="74"/>
                  <a:pt x="0" y="74"/>
                </a:cubicBezTo>
                <a:cubicBezTo>
                  <a:pt x="2" y="79"/>
                  <a:pt x="2" y="79"/>
                  <a:pt x="2" y="79"/>
                </a:cubicBezTo>
                <a:cubicBezTo>
                  <a:pt x="3" y="83"/>
                  <a:pt x="3" y="83"/>
                  <a:pt x="3" y="83"/>
                </a:cubicBezTo>
                <a:cubicBezTo>
                  <a:pt x="5" y="88"/>
                  <a:pt x="5" y="88"/>
                  <a:pt x="5" y="88"/>
                </a:cubicBezTo>
                <a:cubicBezTo>
                  <a:pt x="5" y="90"/>
                  <a:pt x="5" y="90"/>
                  <a:pt x="5" y="90"/>
                </a:cubicBezTo>
                <a:cubicBezTo>
                  <a:pt x="6" y="93"/>
                  <a:pt x="6" y="93"/>
                  <a:pt x="6" y="93"/>
                </a:cubicBezTo>
                <a:cubicBezTo>
                  <a:pt x="7" y="95"/>
                  <a:pt x="7" y="95"/>
                  <a:pt x="7" y="95"/>
                </a:cubicBezTo>
                <a:cubicBezTo>
                  <a:pt x="10" y="94"/>
                  <a:pt x="10" y="94"/>
                  <a:pt x="10" y="94"/>
                </a:cubicBezTo>
                <a:cubicBezTo>
                  <a:pt x="11" y="92"/>
                  <a:pt x="11" y="92"/>
                  <a:pt x="11" y="92"/>
                </a:cubicBezTo>
                <a:cubicBezTo>
                  <a:pt x="13" y="90"/>
                  <a:pt x="13" y="90"/>
                  <a:pt x="13" y="90"/>
                </a:cubicBezTo>
                <a:cubicBezTo>
                  <a:pt x="16" y="90"/>
                  <a:pt x="16" y="90"/>
                  <a:pt x="16" y="90"/>
                </a:cubicBezTo>
                <a:cubicBezTo>
                  <a:pt x="18" y="86"/>
                  <a:pt x="18" y="86"/>
                  <a:pt x="18" y="86"/>
                </a:cubicBezTo>
                <a:cubicBezTo>
                  <a:pt x="19" y="79"/>
                  <a:pt x="19" y="79"/>
                  <a:pt x="19" y="79"/>
                </a:cubicBezTo>
                <a:cubicBezTo>
                  <a:pt x="19" y="75"/>
                  <a:pt x="19" y="75"/>
                  <a:pt x="19" y="75"/>
                </a:cubicBezTo>
                <a:cubicBezTo>
                  <a:pt x="21" y="74"/>
                  <a:pt x="21" y="74"/>
                  <a:pt x="21" y="74"/>
                </a:cubicBezTo>
                <a:cubicBezTo>
                  <a:pt x="24" y="73"/>
                  <a:pt x="24" y="73"/>
                  <a:pt x="24" y="73"/>
                </a:cubicBezTo>
                <a:cubicBezTo>
                  <a:pt x="24" y="68"/>
                  <a:pt x="24" y="68"/>
                  <a:pt x="24" y="68"/>
                </a:cubicBezTo>
                <a:cubicBezTo>
                  <a:pt x="23" y="65"/>
                  <a:pt x="23" y="65"/>
                  <a:pt x="23" y="65"/>
                </a:cubicBezTo>
                <a:cubicBezTo>
                  <a:pt x="20" y="63"/>
                  <a:pt x="20" y="63"/>
                  <a:pt x="20" y="63"/>
                </a:cubicBezTo>
                <a:cubicBezTo>
                  <a:pt x="21" y="56"/>
                  <a:pt x="21" y="56"/>
                  <a:pt x="21" y="56"/>
                </a:cubicBezTo>
                <a:cubicBezTo>
                  <a:pt x="21" y="51"/>
                  <a:pt x="21" y="51"/>
                  <a:pt x="21" y="51"/>
                </a:cubicBezTo>
                <a:cubicBezTo>
                  <a:pt x="24" y="46"/>
                  <a:pt x="24" y="46"/>
                  <a:pt x="24" y="46"/>
                </a:cubicBezTo>
                <a:cubicBezTo>
                  <a:pt x="27" y="44"/>
                  <a:pt x="27" y="44"/>
                  <a:pt x="27" y="44"/>
                </a:cubicBezTo>
                <a:cubicBezTo>
                  <a:pt x="33" y="40"/>
                  <a:pt x="33" y="40"/>
                  <a:pt x="33" y="40"/>
                </a:cubicBezTo>
                <a:cubicBezTo>
                  <a:pt x="34" y="37"/>
                  <a:pt x="34" y="37"/>
                  <a:pt x="34" y="37"/>
                </a:cubicBezTo>
                <a:cubicBezTo>
                  <a:pt x="33" y="34"/>
                  <a:pt x="33" y="34"/>
                  <a:pt x="33" y="34"/>
                </a:cubicBezTo>
                <a:cubicBezTo>
                  <a:pt x="35" y="31"/>
                  <a:pt x="35" y="31"/>
                  <a:pt x="35" y="31"/>
                </a:cubicBezTo>
                <a:cubicBezTo>
                  <a:pt x="38" y="27"/>
                  <a:pt x="38" y="27"/>
                  <a:pt x="38" y="27"/>
                </a:cubicBezTo>
                <a:cubicBezTo>
                  <a:pt x="41" y="28"/>
                  <a:pt x="41" y="28"/>
                  <a:pt x="41" y="28"/>
                </a:cubicBezTo>
                <a:cubicBezTo>
                  <a:pt x="41" y="27"/>
                  <a:pt x="41" y="27"/>
                  <a:pt x="41" y="27"/>
                </a:cubicBezTo>
                <a:lnTo>
                  <a:pt x="41" y="22"/>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19" name="Freeform 1389"/>
          <p:cNvSpPr>
            <a:spLocks/>
          </p:cNvSpPr>
          <p:nvPr/>
        </p:nvSpPr>
        <p:spPr bwMode="auto">
          <a:xfrm>
            <a:off x="4992117" y="3140224"/>
            <a:ext cx="446087" cy="215900"/>
          </a:xfrm>
          <a:custGeom>
            <a:avLst/>
            <a:gdLst>
              <a:gd name="T0" fmla="*/ 422609 w 57"/>
              <a:gd name="T1" fmla="*/ 128373 h 37"/>
              <a:gd name="T2" fmla="*/ 438261 w 57"/>
              <a:gd name="T3" fmla="*/ 122538 h 37"/>
              <a:gd name="T4" fmla="*/ 446087 w 57"/>
              <a:gd name="T5" fmla="*/ 93362 h 37"/>
              <a:gd name="T6" fmla="*/ 446087 w 57"/>
              <a:gd name="T7" fmla="*/ 81692 h 37"/>
              <a:gd name="T8" fmla="*/ 406957 w 57"/>
              <a:gd name="T9" fmla="*/ 70022 h 37"/>
              <a:gd name="T10" fmla="*/ 367826 w 57"/>
              <a:gd name="T11" fmla="*/ 52516 h 37"/>
              <a:gd name="T12" fmla="*/ 352174 w 57"/>
              <a:gd name="T13" fmla="*/ 52516 h 37"/>
              <a:gd name="T14" fmla="*/ 328696 w 57"/>
              <a:gd name="T15" fmla="*/ 40846 h 37"/>
              <a:gd name="T16" fmla="*/ 313044 w 57"/>
              <a:gd name="T17" fmla="*/ 23341 h 37"/>
              <a:gd name="T18" fmla="*/ 258261 w 57"/>
              <a:gd name="T19" fmla="*/ 5835 h 37"/>
              <a:gd name="T20" fmla="*/ 242609 w 57"/>
              <a:gd name="T21" fmla="*/ 5835 h 37"/>
              <a:gd name="T22" fmla="*/ 242609 w 57"/>
              <a:gd name="T23" fmla="*/ 0 h 37"/>
              <a:gd name="T24" fmla="*/ 234783 w 57"/>
              <a:gd name="T25" fmla="*/ 0 h 37"/>
              <a:gd name="T26" fmla="*/ 219130 w 57"/>
              <a:gd name="T27" fmla="*/ 35011 h 37"/>
              <a:gd name="T28" fmla="*/ 187826 w 57"/>
              <a:gd name="T29" fmla="*/ 29176 h 37"/>
              <a:gd name="T30" fmla="*/ 133044 w 57"/>
              <a:gd name="T31" fmla="*/ 29176 h 37"/>
              <a:gd name="T32" fmla="*/ 86087 w 57"/>
              <a:gd name="T33" fmla="*/ 17505 h 37"/>
              <a:gd name="T34" fmla="*/ 54783 w 57"/>
              <a:gd name="T35" fmla="*/ 17505 h 37"/>
              <a:gd name="T36" fmla="*/ 39130 w 57"/>
              <a:gd name="T37" fmla="*/ 23341 h 37"/>
              <a:gd name="T38" fmla="*/ 46957 w 57"/>
              <a:gd name="T39" fmla="*/ 46681 h 37"/>
              <a:gd name="T40" fmla="*/ 31304 w 57"/>
              <a:gd name="T41" fmla="*/ 58351 h 37"/>
              <a:gd name="T42" fmla="*/ 15652 w 57"/>
              <a:gd name="T43" fmla="*/ 87527 h 37"/>
              <a:gd name="T44" fmla="*/ 0 w 57"/>
              <a:gd name="T45" fmla="*/ 87527 h 37"/>
              <a:gd name="T46" fmla="*/ 0 w 57"/>
              <a:gd name="T47" fmla="*/ 105032 h 37"/>
              <a:gd name="T48" fmla="*/ 7826 w 57"/>
              <a:gd name="T49" fmla="*/ 110868 h 37"/>
              <a:gd name="T50" fmla="*/ 15652 w 57"/>
              <a:gd name="T51" fmla="*/ 116703 h 37"/>
              <a:gd name="T52" fmla="*/ 23478 w 57"/>
              <a:gd name="T53" fmla="*/ 122538 h 37"/>
              <a:gd name="T54" fmla="*/ 93913 w 57"/>
              <a:gd name="T55" fmla="*/ 116703 h 37"/>
              <a:gd name="T56" fmla="*/ 140870 w 57"/>
              <a:gd name="T57" fmla="*/ 116703 h 37"/>
              <a:gd name="T58" fmla="*/ 187826 w 57"/>
              <a:gd name="T59" fmla="*/ 140043 h 37"/>
              <a:gd name="T60" fmla="*/ 195652 w 57"/>
              <a:gd name="T61" fmla="*/ 163384 h 37"/>
              <a:gd name="T62" fmla="*/ 172174 w 57"/>
              <a:gd name="T63" fmla="*/ 175054 h 37"/>
              <a:gd name="T64" fmla="*/ 164348 w 57"/>
              <a:gd name="T65" fmla="*/ 192559 h 37"/>
              <a:gd name="T66" fmla="*/ 187826 w 57"/>
              <a:gd name="T67" fmla="*/ 198395 h 37"/>
              <a:gd name="T68" fmla="*/ 195652 w 57"/>
              <a:gd name="T69" fmla="*/ 186724 h 37"/>
              <a:gd name="T70" fmla="*/ 234783 w 57"/>
              <a:gd name="T71" fmla="*/ 169219 h 37"/>
              <a:gd name="T72" fmla="*/ 258261 w 57"/>
              <a:gd name="T73" fmla="*/ 169219 h 37"/>
              <a:gd name="T74" fmla="*/ 281739 w 57"/>
              <a:gd name="T75" fmla="*/ 186724 h 37"/>
              <a:gd name="T76" fmla="*/ 266087 w 57"/>
              <a:gd name="T77" fmla="*/ 198395 h 37"/>
              <a:gd name="T78" fmla="*/ 289565 w 57"/>
              <a:gd name="T79" fmla="*/ 215900 h 37"/>
              <a:gd name="T80" fmla="*/ 352174 w 57"/>
              <a:gd name="T81" fmla="*/ 198395 h 37"/>
              <a:gd name="T82" fmla="*/ 320870 w 57"/>
              <a:gd name="T83" fmla="*/ 180889 h 37"/>
              <a:gd name="T84" fmla="*/ 336522 w 57"/>
              <a:gd name="T85" fmla="*/ 163384 h 37"/>
              <a:gd name="T86" fmla="*/ 391304 w 57"/>
              <a:gd name="T87" fmla="*/ 157549 h 37"/>
              <a:gd name="T88" fmla="*/ 399130 w 57"/>
              <a:gd name="T89" fmla="*/ 145878 h 37"/>
              <a:gd name="T90" fmla="*/ 422609 w 57"/>
              <a:gd name="T91" fmla="*/ 128373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7"/>
              <a:gd name="T139" fmla="*/ 0 h 37"/>
              <a:gd name="T140" fmla="*/ 57 w 57"/>
              <a:gd name="T141" fmla="*/ 37 h 3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20" name="Freeform 1390"/>
          <p:cNvSpPr>
            <a:spLocks/>
          </p:cNvSpPr>
          <p:nvPr/>
        </p:nvSpPr>
        <p:spPr bwMode="auto">
          <a:xfrm>
            <a:off x="5249292" y="3140224"/>
            <a:ext cx="55562" cy="22225"/>
          </a:xfrm>
          <a:custGeom>
            <a:avLst/>
            <a:gdLst>
              <a:gd name="T0" fmla="*/ 47625 w 42"/>
              <a:gd name="T1" fmla="*/ 22225 h 24"/>
              <a:gd name="T2" fmla="*/ 23812 w 42"/>
              <a:gd name="T3" fmla="*/ 0 h 24"/>
              <a:gd name="T4" fmla="*/ 0 w 42"/>
              <a:gd name="T5" fmla="*/ 5556 h 24"/>
              <a:gd name="T6" fmla="*/ 55562 w 42"/>
              <a:gd name="T7" fmla="*/ 22225 h 24"/>
              <a:gd name="T8" fmla="*/ 47625 w 42"/>
              <a:gd name="T9" fmla="*/ 22225 h 24"/>
              <a:gd name="T10" fmla="*/ 0 60000 65536"/>
              <a:gd name="T11" fmla="*/ 0 60000 65536"/>
              <a:gd name="T12" fmla="*/ 0 60000 65536"/>
              <a:gd name="T13" fmla="*/ 0 60000 65536"/>
              <a:gd name="T14" fmla="*/ 0 60000 65536"/>
              <a:gd name="T15" fmla="*/ 0 w 42"/>
              <a:gd name="T16" fmla="*/ 0 h 24"/>
              <a:gd name="T17" fmla="*/ 42 w 42"/>
              <a:gd name="T18" fmla="*/ 24 h 24"/>
            </a:gdLst>
            <a:ahLst/>
            <a:cxnLst>
              <a:cxn ang="T10">
                <a:pos x="T0" y="T1"/>
              </a:cxn>
              <a:cxn ang="T11">
                <a:pos x="T2" y="T3"/>
              </a:cxn>
              <a:cxn ang="T12">
                <a:pos x="T4" y="T5"/>
              </a:cxn>
              <a:cxn ang="T13">
                <a:pos x="T6" y="T7"/>
              </a:cxn>
              <a:cxn ang="T14">
                <a:pos x="T8" y="T9"/>
              </a:cxn>
            </a:cxnLst>
            <a:rect l="T15" t="T16" r="T17" b="T18"/>
            <a:pathLst>
              <a:path w="42" h="24">
                <a:moveTo>
                  <a:pt x="36" y="24"/>
                </a:moveTo>
                <a:lnTo>
                  <a:pt x="18" y="0"/>
                </a:lnTo>
                <a:lnTo>
                  <a:pt x="0" y="6"/>
                </a:lnTo>
                <a:lnTo>
                  <a:pt x="42" y="24"/>
                </a:lnTo>
                <a:lnTo>
                  <a:pt x="36" y="24"/>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21" name="Freeform 1391"/>
          <p:cNvSpPr>
            <a:spLocks/>
          </p:cNvSpPr>
          <p:nvPr/>
        </p:nvSpPr>
        <p:spPr bwMode="auto">
          <a:xfrm>
            <a:off x="4944492" y="3256112"/>
            <a:ext cx="250825" cy="122237"/>
          </a:xfrm>
          <a:custGeom>
            <a:avLst/>
            <a:gdLst>
              <a:gd name="T0" fmla="*/ 219472 w 32"/>
              <a:gd name="T1" fmla="*/ 58208 h 21"/>
              <a:gd name="T2" fmla="*/ 242987 w 32"/>
              <a:gd name="T3" fmla="*/ 46566 h 21"/>
              <a:gd name="T4" fmla="*/ 235148 w 32"/>
              <a:gd name="T5" fmla="*/ 23283 h 21"/>
              <a:gd name="T6" fmla="*/ 188119 w 32"/>
              <a:gd name="T7" fmla="*/ 0 h 21"/>
              <a:gd name="T8" fmla="*/ 141089 w 32"/>
              <a:gd name="T9" fmla="*/ 0 h 21"/>
              <a:gd name="T10" fmla="*/ 70545 w 32"/>
              <a:gd name="T11" fmla="*/ 5821 h 21"/>
              <a:gd name="T12" fmla="*/ 62706 w 32"/>
              <a:gd name="T13" fmla="*/ 0 h 21"/>
              <a:gd name="T14" fmla="*/ 39191 w 32"/>
              <a:gd name="T15" fmla="*/ 29104 h 21"/>
              <a:gd name="T16" fmla="*/ 23515 w 32"/>
              <a:gd name="T17" fmla="*/ 52387 h 21"/>
              <a:gd name="T18" fmla="*/ 0 w 32"/>
              <a:gd name="T19" fmla="*/ 58208 h 21"/>
              <a:gd name="T20" fmla="*/ 0 w 32"/>
              <a:gd name="T21" fmla="*/ 58208 h 21"/>
              <a:gd name="T22" fmla="*/ 62706 w 32"/>
              <a:gd name="T23" fmla="*/ 110595 h 21"/>
              <a:gd name="T24" fmla="*/ 78383 w 32"/>
              <a:gd name="T25" fmla="*/ 116416 h 21"/>
              <a:gd name="T26" fmla="*/ 125413 w 32"/>
              <a:gd name="T27" fmla="*/ 116416 h 21"/>
              <a:gd name="T28" fmla="*/ 164604 w 32"/>
              <a:gd name="T29" fmla="*/ 110595 h 21"/>
              <a:gd name="T30" fmla="*/ 211634 w 32"/>
              <a:gd name="T31" fmla="*/ 122237 h 21"/>
              <a:gd name="T32" fmla="*/ 219472 w 32"/>
              <a:gd name="T33" fmla="*/ 87312 h 21"/>
              <a:gd name="T34" fmla="*/ 235148 w 32"/>
              <a:gd name="T35" fmla="*/ 81491 h 21"/>
              <a:gd name="T36" fmla="*/ 211634 w 32"/>
              <a:gd name="T37" fmla="*/ 75671 h 21"/>
              <a:gd name="T38" fmla="*/ 219472 w 32"/>
              <a:gd name="T39" fmla="*/ 58208 h 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21"/>
              <a:gd name="T62" fmla="*/ 32 w 32"/>
              <a:gd name="T63" fmla="*/ 21 h 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21">
                <a:moveTo>
                  <a:pt x="28" y="10"/>
                </a:moveTo>
                <a:cubicBezTo>
                  <a:pt x="28" y="10"/>
                  <a:pt x="31" y="9"/>
                  <a:pt x="31" y="8"/>
                </a:cubicBezTo>
                <a:cubicBezTo>
                  <a:pt x="32" y="6"/>
                  <a:pt x="30" y="4"/>
                  <a:pt x="30" y="4"/>
                </a:cubicBezTo>
                <a:cubicBezTo>
                  <a:pt x="24" y="0"/>
                  <a:pt x="24" y="0"/>
                  <a:pt x="24" y="0"/>
                </a:cubicBezTo>
                <a:cubicBezTo>
                  <a:pt x="18" y="0"/>
                  <a:pt x="18" y="0"/>
                  <a:pt x="18" y="0"/>
                </a:cubicBezTo>
                <a:cubicBezTo>
                  <a:pt x="9" y="1"/>
                  <a:pt x="9" y="1"/>
                  <a:pt x="9" y="1"/>
                </a:cubicBezTo>
                <a:cubicBezTo>
                  <a:pt x="8" y="0"/>
                  <a:pt x="8" y="0"/>
                  <a:pt x="8" y="0"/>
                </a:cubicBezTo>
                <a:cubicBezTo>
                  <a:pt x="5" y="5"/>
                  <a:pt x="5" y="5"/>
                  <a:pt x="5" y="5"/>
                </a:cubicBezTo>
                <a:cubicBezTo>
                  <a:pt x="3" y="9"/>
                  <a:pt x="3" y="9"/>
                  <a:pt x="3" y="9"/>
                </a:cubicBezTo>
                <a:cubicBezTo>
                  <a:pt x="0" y="10"/>
                  <a:pt x="0" y="10"/>
                  <a:pt x="0" y="10"/>
                </a:cubicBezTo>
                <a:cubicBezTo>
                  <a:pt x="0" y="10"/>
                  <a:pt x="0" y="10"/>
                  <a:pt x="0" y="10"/>
                </a:cubicBezTo>
                <a:cubicBezTo>
                  <a:pt x="8" y="19"/>
                  <a:pt x="8" y="19"/>
                  <a:pt x="8" y="19"/>
                </a:cubicBezTo>
                <a:cubicBezTo>
                  <a:pt x="10" y="20"/>
                  <a:pt x="10" y="20"/>
                  <a:pt x="10" y="20"/>
                </a:cubicBezTo>
                <a:cubicBezTo>
                  <a:pt x="16" y="20"/>
                  <a:pt x="16" y="20"/>
                  <a:pt x="16" y="20"/>
                </a:cubicBezTo>
                <a:cubicBezTo>
                  <a:pt x="21" y="19"/>
                  <a:pt x="21" y="19"/>
                  <a:pt x="21" y="19"/>
                </a:cubicBezTo>
                <a:cubicBezTo>
                  <a:pt x="27" y="21"/>
                  <a:pt x="27" y="21"/>
                  <a:pt x="27" y="21"/>
                </a:cubicBezTo>
                <a:cubicBezTo>
                  <a:pt x="28" y="15"/>
                  <a:pt x="28" y="15"/>
                  <a:pt x="28" y="15"/>
                </a:cubicBezTo>
                <a:cubicBezTo>
                  <a:pt x="30" y="14"/>
                  <a:pt x="30" y="14"/>
                  <a:pt x="30" y="14"/>
                </a:cubicBezTo>
                <a:cubicBezTo>
                  <a:pt x="27" y="13"/>
                  <a:pt x="27" y="13"/>
                  <a:pt x="27" y="13"/>
                </a:cubicBezTo>
                <a:lnTo>
                  <a:pt x="28" y="10"/>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22" name="Freeform 1392"/>
          <p:cNvSpPr>
            <a:spLocks/>
          </p:cNvSpPr>
          <p:nvPr/>
        </p:nvSpPr>
        <p:spPr bwMode="auto">
          <a:xfrm>
            <a:off x="4944492" y="3316437"/>
            <a:ext cx="61912" cy="52387"/>
          </a:xfrm>
          <a:custGeom>
            <a:avLst/>
            <a:gdLst>
              <a:gd name="T0" fmla="*/ 54173 w 48"/>
              <a:gd name="T1" fmla="*/ 40745 h 54"/>
              <a:gd name="T2" fmla="*/ 61912 w 48"/>
              <a:gd name="T3" fmla="*/ 52387 h 54"/>
              <a:gd name="T4" fmla="*/ 0 w 48"/>
              <a:gd name="T5" fmla="*/ 0 h 54"/>
              <a:gd name="T6" fmla="*/ 15478 w 48"/>
              <a:gd name="T7" fmla="*/ 17462 h 54"/>
              <a:gd name="T8" fmla="*/ 54173 w 48"/>
              <a:gd name="T9" fmla="*/ 40745 h 54"/>
              <a:gd name="T10" fmla="*/ 0 60000 65536"/>
              <a:gd name="T11" fmla="*/ 0 60000 65536"/>
              <a:gd name="T12" fmla="*/ 0 60000 65536"/>
              <a:gd name="T13" fmla="*/ 0 60000 65536"/>
              <a:gd name="T14" fmla="*/ 0 60000 65536"/>
              <a:gd name="T15" fmla="*/ 0 w 48"/>
              <a:gd name="T16" fmla="*/ 0 h 54"/>
              <a:gd name="T17" fmla="*/ 48 w 48"/>
              <a:gd name="T18" fmla="*/ 54 h 54"/>
            </a:gdLst>
            <a:ahLst/>
            <a:cxnLst>
              <a:cxn ang="T10">
                <a:pos x="T0" y="T1"/>
              </a:cxn>
              <a:cxn ang="T11">
                <a:pos x="T2" y="T3"/>
              </a:cxn>
              <a:cxn ang="T12">
                <a:pos x="T4" y="T5"/>
              </a:cxn>
              <a:cxn ang="T13">
                <a:pos x="T6" y="T7"/>
              </a:cxn>
              <a:cxn ang="T14">
                <a:pos x="T8" y="T9"/>
              </a:cxn>
            </a:cxnLst>
            <a:rect l="T15" t="T16" r="T17" b="T18"/>
            <a:pathLst>
              <a:path w="48" h="54">
                <a:moveTo>
                  <a:pt x="42" y="42"/>
                </a:moveTo>
                <a:lnTo>
                  <a:pt x="48" y="54"/>
                </a:lnTo>
                <a:lnTo>
                  <a:pt x="0" y="0"/>
                </a:lnTo>
                <a:lnTo>
                  <a:pt x="12" y="18"/>
                </a:lnTo>
                <a:lnTo>
                  <a:pt x="42" y="42"/>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23" name="Freeform 1393"/>
          <p:cNvSpPr>
            <a:spLocks/>
          </p:cNvSpPr>
          <p:nvPr/>
        </p:nvSpPr>
        <p:spPr bwMode="auto">
          <a:xfrm>
            <a:off x="4741292" y="3181499"/>
            <a:ext cx="171450" cy="69850"/>
          </a:xfrm>
          <a:custGeom>
            <a:avLst/>
            <a:gdLst>
              <a:gd name="T0" fmla="*/ 77932 w 22"/>
              <a:gd name="T1" fmla="*/ 58208 h 12"/>
              <a:gd name="T2" fmla="*/ 109105 w 22"/>
              <a:gd name="T3" fmla="*/ 64029 h 12"/>
              <a:gd name="T4" fmla="*/ 116898 w 22"/>
              <a:gd name="T5" fmla="*/ 64029 h 12"/>
              <a:gd name="T6" fmla="*/ 116898 w 22"/>
              <a:gd name="T7" fmla="*/ 64029 h 12"/>
              <a:gd name="T8" fmla="*/ 116898 w 22"/>
              <a:gd name="T9" fmla="*/ 69850 h 12"/>
              <a:gd name="T10" fmla="*/ 148070 w 22"/>
              <a:gd name="T11" fmla="*/ 58208 h 12"/>
              <a:gd name="T12" fmla="*/ 155864 w 22"/>
              <a:gd name="T13" fmla="*/ 46567 h 12"/>
              <a:gd name="T14" fmla="*/ 171450 w 22"/>
              <a:gd name="T15" fmla="*/ 34925 h 12"/>
              <a:gd name="T16" fmla="*/ 132484 w 22"/>
              <a:gd name="T17" fmla="*/ 23283 h 12"/>
              <a:gd name="T18" fmla="*/ 101311 w 22"/>
              <a:gd name="T19" fmla="*/ 11642 h 12"/>
              <a:gd name="T20" fmla="*/ 70139 w 22"/>
              <a:gd name="T21" fmla="*/ 0 h 12"/>
              <a:gd name="T22" fmla="*/ 70139 w 22"/>
              <a:gd name="T23" fmla="*/ 5821 h 12"/>
              <a:gd name="T24" fmla="*/ 54552 w 22"/>
              <a:gd name="T25" fmla="*/ 0 h 12"/>
              <a:gd name="T26" fmla="*/ 46759 w 22"/>
              <a:gd name="T27" fmla="*/ 5821 h 12"/>
              <a:gd name="T28" fmla="*/ 31173 w 22"/>
              <a:gd name="T29" fmla="*/ 11642 h 12"/>
              <a:gd name="T30" fmla="*/ 15586 w 22"/>
              <a:gd name="T31" fmla="*/ 17463 h 12"/>
              <a:gd name="T32" fmla="*/ 0 w 22"/>
              <a:gd name="T33" fmla="*/ 23283 h 12"/>
              <a:gd name="T34" fmla="*/ 7793 w 22"/>
              <a:gd name="T35" fmla="*/ 29104 h 12"/>
              <a:gd name="T36" fmla="*/ 23380 w 22"/>
              <a:gd name="T37" fmla="*/ 40746 h 12"/>
              <a:gd name="T38" fmla="*/ 38966 w 22"/>
              <a:gd name="T39" fmla="*/ 58208 h 12"/>
              <a:gd name="T40" fmla="*/ 46759 w 22"/>
              <a:gd name="T41" fmla="*/ 64029 h 12"/>
              <a:gd name="T42" fmla="*/ 46759 w 22"/>
              <a:gd name="T43" fmla="*/ 64029 h 12"/>
              <a:gd name="T44" fmla="*/ 70139 w 22"/>
              <a:gd name="T45" fmla="*/ 64029 h 12"/>
              <a:gd name="T46" fmla="*/ 77932 w 22"/>
              <a:gd name="T47" fmla="*/ 58208 h 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
              <a:gd name="T73" fmla="*/ 0 h 12"/>
              <a:gd name="T74" fmla="*/ 22 w 22"/>
              <a:gd name="T75" fmla="*/ 12 h 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 h="12">
                <a:moveTo>
                  <a:pt x="10" y="10"/>
                </a:moveTo>
                <a:cubicBezTo>
                  <a:pt x="14" y="11"/>
                  <a:pt x="14" y="11"/>
                  <a:pt x="14" y="11"/>
                </a:cubicBezTo>
                <a:cubicBezTo>
                  <a:pt x="15" y="11"/>
                  <a:pt x="15" y="11"/>
                  <a:pt x="15" y="11"/>
                </a:cubicBezTo>
                <a:cubicBezTo>
                  <a:pt x="15" y="11"/>
                  <a:pt x="15" y="11"/>
                  <a:pt x="15" y="11"/>
                </a:cubicBezTo>
                <a:cubicBezTo>
                  <a:pt x="15" y="12"/>
                  <a:pt x="15" y="12"/>
                  <a:pt x="15" y="12"/>
                </a:cubicBezTo>
                <a:cubicBezTo>
                  <a:pt x="19" y="10"/>
                  <a:pt x="19" y="10"/>
                  <a:pt x="19" y="10"/>
                </a:cubicBezTo>
                <a:cubicBezTo>
                  <a:pt x="20" y="8"/>
                  <a:pt x="20" y="8"/>
                  <a:pt x="20" y="8"/>
                </a:cubicBezTo>
                <a:cubicBezTo>
                  <a:pt x="22" y="6"/>
                  <a:pt x="22" y="6"/>
                  <a:pt x="22" y="6"/>
                </a:cubicBezTo>
                <a:cubicBezTo>
                  <a:pt x="17" y="4"/>
                  <a:pt x="17" y="4"/>
                  <a:pt x="17" y="4"/>
                </a:cubicBezTo>
                <a:cubicBezTo>
                  <a:pt x="13" y="2"/>
                  <a:pt x="13" y="2"/>
                  <a:pt x="13" y="2"/>
                </a:cubicBezTo>
                <a:cubicBezTo>
                  <a:pt x="9" y="0"/>
                  <a:pt x="9" y="0"/>
                  <a:pt x="9" y="0"/>
                </a:cubicBezTo>
                <a:cubicBezTo>
                  <a:pt x="9" y="0"/>
                  <a:pt x="9" y="1"/>
                  <a:pt x="9" y="1"/>
                </a:cubicBezTo>
                <a:cubicBezTo>
                  <a:pt x="7" y="0"/>
                  <a:pt x="7" y="0"/>
                  <a:pt x="7" y="0"/>
                </a:cubicBezTo>
                <a:cubicBezTo>
                  <a:pt x="6" y="1"/>
                  <a:pt x="6" y="1"/>
                  <a:pt x="6" y="1"/>
                </a:cubicBezTo>
                <a:cubicBezTo>
                  <a:pt x="4" y="2"/>
                  <a:pt x="4" y="2"/>
                  <a:pt x="4" y="2"/>
                </a:cubicBezTo>
                <a:cubicBezTo>
                  <a:pt x="2" y="3"/>
                  <a:pt x="2" y="3"/>
                  <a:pt x="2" y="3"/>
                </a:cubicBezTo>
                <a:cubicBezTo>
                  <a:pt x="0" y="4"/>
                  <a:pt x="0" y="4"/>
                  <a:pt x="0" y="4"/>
                </a:cubicBezTo>
                <a:cubicBezTo>
                  <a:pt x="1" y="5"/>
                  <a:pt x="1" y="5"/>
                  <a:pt x="1" y="5"/>
                </a:cubicBezTo>
                <a:cubicBezTo>
                  <a:pt x="3" y="7"/>
                  <a:pt x="3" y="7"/>
                  <a:pt x="3" y="7"/>
                </a:cubicBezTo>
                <a:cubicBezTo>
                  <a:pt x="5" y="10"/>
                  <a:pt x="5" y="10"/>
                  <a:pt x="5" y="10"/>
                </a:cubicBezTo>
                <a:cubicBezTo>
                  <a:pt x="6" y="11"/>
                  <a:pt x="6" y="11"/>
                  <a:pt x="6" y="11"/>
                </a:cubicBezTo>
                <a:cubicBezTo>
                  <a:pt x="6" y="11"/>
                  <a:pt x="6" y="11"/>
                  <a:pt x="6" y="11"/>
                </a:cubicBezTo>
                <a:cubicBezTo>
                  <a:pt x="9" y="11"/>
                  <a:pt x="9" y="11"/>
                  <a:pt x="9" y="11"/>
                </a:cubicBezTo>
                <a:lnTo>
                  <a:pt x="10" y="10"/>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24" name="Freeform 1394"/>
          <p:cNvSpPr>
            <a:spLocks/>
          </p:cNvSpPr>
          <p:nvPr/>
        </p:nvSpPr>
        <p:spPr bwMode="auto">
          <a:xfrm>
            <a:off x="4842892" y="3251349"/>
            <a:ext cx="163512" cy="68263"/>
          </a:xfrm>
          <a:custGeom>
            <a:avLst/>
            <a:gdLst>
              <a:gd name="T0" fmla="*/ 116794 w 21"/>
              <a:gd name="T1" fmla="*/ 0 h 12"/>
              <a:gd name="T2" fmla="*/ 101222 w 21"/>
              <a:gd name="T3" fmla="*/ 5689 h 12"/>
              <a:gd name="T4" fmla="*/ 70077 w 21"/>
              <a:gd name="T5" fmla="*/ 11377 h 12"/>
              <a:gd name="T6" fmla="*/ 46718 w 21"/>
              <a:gd name="T7" fmla="*/ 17066 h 12"/>
              <a:gd name="T8" fmla="*/ 31145 w 21"/>
              <a:gd name="T9" fmla="*/ 17066 h 12"/>
              <a:gd name="T10" fmla="*/ 23359 w 21"/>
              <a:gd name="T11" fmla="*/ 11377 h 12"/>
              <a:gd name="T12" fmla="*/ 15573 w 21"/>
              <a:gd name="T13" fmla="*/ 22754 h 12"/>
              <a:gd name="T14" fmla="*/ 7786 w 21"/>
              <a:gd name="T15" fmla="*/ 39820 h 12"/>
              <a:gd name="T16" fmla="*/ 0 w 21"/>
              <a:gd name="T17" fmla="*/ 39820 h 12"/>
              <a:gd name="T18" fmla="*/ 7786 w 21"/>
              <a:gd name="T19" fmla="*/ 51197 h 12"/>
              <a:gd name="T20" fmla="*/ 31145 w 21"/>
              <a:gd name="T21" fmla="*/ 62574 h 12"/>
              <a:gd name="T22" fmla="*/ 62290 w 21"/>
              <a:gd name="T23" fmla="*/ 68263 h 12"/>
              <a:gd name="T24" fmla="*/ 70077 w 21"/>
              <a:gd name="T25" fmla="*/ 68263 h 12"/>
              <a:gd name="T26" fmla="*/ 101222 w 21"/>
              <a:gd name="T27" fmla="*/ 62574 h 12"/>
              <a:gd name="T28" fmla="*/ 101222 w 21"/>
              <a:gd name="T29" fmla="*/ 62574 h 12"/>
              <a:gd name="T30" fmla="*/ 124581 w 21"/>
              <a:gd name="T31" fmla="*/ 56886 h 12"/>
              <a:gd name="T32" fmla="*/ 140153 w 21"/>
              <a:gd name="T33" fmla="*/ 34132 h 12"/>
              <a:gd name="T34" fmla="*/ 163512 w 21"/>
              <a:gd name="T35" fmla="*/ 5689 h 12"/>
              <a:gd name="T36" fmla="*/ 155726 w 21"/>
              <a:gd name="T37" fmla="*/ 0 h 12"/>
              <a:gd name="T38" fmla="*/ 140153 w 21"/>
              <a:gd name="T39" fmla="*/ 0 h 12"/>
              <a:gd name="T40" fmla="*/ 116794 w 21"/>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12"/>
              <a:gd name="T65" fmla="*/ 21 w 21"/>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12">
                <a:moveTo>
                  <a:pt x="15" y="0"/>
                </a:moveTo>
                <a:cubicBezTo>
                  <a:pt x="13" y="1"/>
                  <a:pt x="13" y="1"/>
                  <a:pt x="13" y="1"/>
                </a:cubicBezTo>
                <a:cubicBezTo>
                  <a:pt x="9" y="2"/>
                  <a:pt x="9" y="2"/>
                  <a:pt x="9" y="2"/>
                </a:cubicBezTo>
                <a:cubicBezTo>
                  <a:pt x="6" y="3"/>
                  <a:pt x="6" y="3"/>
                  <a:pt x="6" y="3"/>
                </a:cubicBezTo>
                <a:cubicBezTo>
                  <a:pt x="4" y="3"/>
                  <a:pt x="4" y="3"/>
                  <a:pt x="4" y="3"/>
                </a:cubicBezTo>
                <a:cubicBezTo>
                  <a:pt x="3" y="2"/>
                  <a:pt x="3" y="2"/>
                  <a:pt x="3" y="2"/>
                </a:cubicBezTo>
                <a:cubicBezTo>
                  <a:pt x="2" y="4"/>
                  <a:pt x="2" y="4"/>
                  <a:pt x="2" y="4"/>
                </a:cubicBezTo>
                <a:cubicBezTo>
                  <a:pt x="1" y="7"/>
                  <a:pt x="1" y="7"/>
                  <a:pt x="1" y="7"/>
                </a:cubicBezTo>
                <a:cubicBezTo>
                  <a:pt x="0" y="7"/>
                  <a:pt x="0" y="7"/>
                  <a:pt x="0" y="7"/>
                </a:cubicBezTo>
                <a:cubicBezTo>
                  <a:pt x="1" y="9"/>
                  <a:pt x="1" y="9"/>
                  <a:pt x="1" y="9"/>
                </a:cubicBezTo>
                <a:cubicBezTo>
                  <a:pt x="4" y="11"/>
                  <a:pt x="4" y="11"/>
                  <a:pt x="4" y="11"/>
                </a:cubicBezTo>
                <a:cubicBezTo>
                  <a:pt x="4" y="11"/>
                  <a:pt x="7" y="12"/>
                  <a:pt x="8" y="12"/>
                </a:cubicBezTo>
                <a:cubicBezTo>
                  <a:pt x="8" y="12"/>
                  <a:pt x="9" y="12"/>
                  <a:pt x="9" y="12"/>
                </a:cubicBezTo>
                <a:cubicBezTo>
                  <a:pt x="11" y="12"/>
                  <a:pt x="12" y="12"/>
                  <a:pt x="13" y="11"/>
                </a:cubicBezTo>
                <a:cubicBezTo>
                  <a:pt x="13" y="11"/>
                  <a:pt x="13" y="11"/>
                  <a:pt x="13" y="11"/>
                </a:cubicBezTo>
                <a:cubicBezTo>
                  <a:pt x="16" y="10"/>
                  <a:pt x="16" y="10"/>
                  <a:pt x="16" y="10"/>
                </a:cubicBezTo>
                <a:cubicBezTo>
                  <a:pt x="18" y="6"/>
                  <a:pt x="18" y="6"/>
                  <a:pt x="18" y="6"/>
                </a:cubicBezTo>
                <a:cubicBezTo>
                  <a:pt x="21" y="1"/>
                  <a:pt x="21" y="1"/>
                  <a:pt x="21" y="1"/>
                </a:cubicBezTo>
                <a:cubicBezTo>
                  <a:pt x="20" y="0"/>
                  <a:pt x="20" y="0"/>
                  <a:pt x="20" y="0"/>
                </a:cubicBezTo>
                <a:cubicBezTo>
                  <a:pt x="18" y="0"/>
                  <a:pt x="18" y="0"/>
                  <a:pt x="18" y="0"/>
                </a:cubicBezTo>
                <a:lnTo>
                  <a:pt x="15" y="0"/>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25" name="Freeform 1395"/>
          <p:cNvSpPr>
            <a:spLocks/>
          </p:cNvSpPr>
          <p:nvPr/>
        </p:nvSpPr>
        <p:spPr bwMode="auto">
          <a:xfrm>
            <a:off x="4858767" y="3216424"/>
            <a:ext cx="139700" cy="52388"/>
          </a:xfrm>
          <a:custGeom>
            <a:avLst/>
            <a:gdLst>
              <a:gd name="T0" fmla="*/ 85372 w 108"/>
              <a:gd name="T1" fmla="*/ 11642 h 54"/>
              <a:gd name="T2" fmla="*/ 54328 w 108"/>
              <a:gd name="T3" fmla="*/ 0 h 54"/>
              <a:gd name="T4" fmla="*/ 54328 w 108"/>
              <a:gd name="T5" fmla="*/ 0 h 54"/>
              <a:gd name="T6" fmla="*/ 38806 w 108"/>
              <a:gd name="T7" fmla="*/ 11642 h 54"/>
              <a:gd name="T8" fmla="*/ 31044 w 108"/>
              <a:gd name="T9" fmla="*/ 23284 h 54"/>
              <a:gd name="T10" fmla="*/ 0 w 108"/>
              <a:gd name="T11" fmla="*/ 34925 h 54"/>
              <a:gd name="T12" fmla="*/ 7761 w 108"/>
              <a:gd name="T13" fmla="*/ 46567 h 54"/>
              <a:gd name="T14" fmla="*/ 7761 w 108"/>
              <a:gd name="T15" fmla="*/ 46567 h 54"/>
              <a:gd name="T16" fmla="*/ 15522 w 108"/>
              <a:gd name="T17" fmla="*/ 52388 h 54"/>
              <a:gd name="T18" fmla="*/ 31044 w 108"/>
              <a:gd name="T19" fmla="*/ 52388 h 54"/>
              <a:gd name="T20" fmla="*/ 54328 w 108"/>
              <a:gd name="T21" fmla="*/ 46567 h 54"/>
              <a:gd name="T22" fmla="*/ 85372 w 108"/>
              <a:gd name="T23" fmla="*/ 40746 h 54"/>
              <a:gd name="T24" fmla="*/ 100894 w 108"/>
              <a:gd name="T25" fmla="*/ 34925 h 54"/>
              <a:gd name="T26" fmla="*/ 124178 w 108"/>
              <a:gd name="T27" fmla="*/ 34925 h 54"/>
              <a:gd name="T28" fmla="*/ 139700 w 108"/>
              <a:gd name="T29" fmla="*/ 34925 h 54"/>
              <a:gd name="T30" fmla="*/ 131939 w 108"/>
              <a:gd name="T31" fmla="*/ 29104 h 54"/>
              <a:gd name="T32" fmla="*/ 131939 w 108"/>
              <a:gd name="T33" fmla="*/ 11642 h 54"/>
              <a:gd name="T34" fmla="*/ 116417 w 108"/>
              <a:gd name="T35" fmla="*/ 11642 h 54"/>
              <a:gd name="T36" fmla="*/ 85372 w 108"/>
              <a:gd name="T37" fmla="*/ 11642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8"/>
              <a:gd name="T58" fmla="*/ 0 h 54"/>
              <a:gd name="T59" fmla="*/ 108 w 108"/>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8" h="54">
                <a:moveTo>
                  <a:pt x="66" y="12"/>
                </a:moveTo>
                <a:lnTo>
                  <a:pt x="42" y="0"/>
                </a:lnTo>
                <a:lnTo>
                  <a:pt x="30" y="12"/>
                </a:lnTo>
                <a:lnTo>
                  <a:pt x="24" y="24"/>
                </a:lnTo>
                <a:lnTo>
                  <a:pt x="0" y="36"/>
                </a:lnTo>
                <a:lnTo>
                  <a:pt x="6" y="48"/>
                </a:lnTo>
                <a:lnTo>
                  <a:pt x="12" y="54"/>
                </a:lnTo>
                <a:lnTo>
                  <a:pt x="24" y="54"/>
                </a:lnTo>
                <a:lnTo>
                  <a:pt x="42" y="48"/>
                </a:lnTo>
                <a:lnTo>
                  <a:pt x="66" y="42"/>
                </a:lnTo>
                <a:lnTo>
                  <a:pt x="78" y="36"/>
                </a:lnTo>
                <a:lnTo>
                  <a:pt x="96" y="36"/>
                </a:lnTo>
                <a:lnTo>
                  <a:pt x="108" y="36"/>
                </a:lnTo>
                <a:lnTo>
                  <a:pt x="102" y="30"/>
                </a:lnTo>
                <a:lnTo>
                  <a:pt x="102" y="12"/>
                </a:lnTo>
                <a:lnTo>
                  <a:pt x="90" y="12"/>
                </a:lnTo>
                <a:lnTo>
                  <a:pt x="66" y="12"/>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26" name="Freeform 1396"/>
          <p:cNvSpPr>
            <a:spLocks/>
          </p:cNvSpPr>
          <p:nvPr/>
        </p:nvSpPr>
        <p:spPr bwMode="auto">
          <a:xfrm>
            <a:off x="5006404" y="3368824"/>
            <a:ext cx="174625" cy="111125"/>
          </a:xfrm>
          <a:custGeom>
            <a:avLst/>
            <a:gdLst>
              <a:gd name="T0" fmla="*/ 63500 w 132"/>
              <a:gd name="T1" fmla="*/ 5798 h 115"/>
              <a:gd name="T2" fmla="*/ 15875 w 132"/>
              <a:gd name="T3" fmla="*/ 5798 h 115"/>
              <a:gd name="T4" fmla="*/ 0 w 132"/>
              <a:gd name="T5" fmla="*/ 0 h 115"/>
              <a:gd name="T6" fmla="*/ 0 w 132"/>
              <a:gd name="T7" fmla="*/ 11596 h 115"/>
              <a:gd name="T8" fmla="*/ 7937 w 132"/>
              <a:gd name="T9" fmla="*/ 28989 h 115"/>
              <a:gd name="T10" fmla="*/ 0 w 132"/>
              <a:gd name="T11" fmla="*/ 46383 h 115"/>
              <a:gd name="T12" fmla="*/ 7937 w 132"/>
              <a:gd name="T13" fmla="*/ 58945 h 115"/>
              <a:gd name="T14" fmla="*/ 15875 w 132"/>
              <a:gd name="T15" fmla="*/ 70540 h 115"/>
              <a:gd name="T16" fmla="*/ 15875 w 132"/>
              <a:gd name="T17" fmla="*/ 70540 h 115"/>
              <a:gd name="T18" fmla="*/ 63500 w 132"/>
              <a:gd name="T19" fmla="*/ 70540 h 115"/>
              <a:gd name="T20" fmla="*/ 87313 w 132"/>
              <a:gd name="T21" fmla="*/ 70540 h 115"/>
              <a:gd name="T22" fmla="*/ 95250 w 132"/>
              <a:gd name="T23" fmla="*/ 64742 h 115"/>
              <a:gd name="T24" fmla="*/ 95250 w 132"/>
              <a:gd name="T25" fmla="*/ 70540 h 115"/>
              <a:gd name="T26" fmla="*/ 87313 w 132"/>
              <a:gd name="T27" fmla="*/ 82136 h 115"/>
              <a:gd name="T28" fmla="*/ 79375 w 132"/>
              <a:gd name="T29" fmla="*/ 87934 h 115"/>
              <a:gd name="T30" fmla="*/ 87313 w 132"/>
              <a:gd name="T31" fmla="*/ 111125 h 115"/>
              <a:gd name="T32" fmla="*/ 119062 w 132"/>
              <a:gd name="T33" fmla="*/ 93732 h 115"/>
              <a:gd name="T34" fmla="*/ 150812 w 132"/>
              <a:gd name="T35" fmla="*/ 93732 h 115"/>
              <a:gd name="T36" fmla="*/ 166687 w 132"/>
              <a:gd name="T37" fmla="*/ 76338 h 115"/>
              <a:gd name="T38" fmla="*/ 174625 w 132"/>
              <a:gd name="T39" fmla="*/ 76338 h 115"/>
              <a:gd name="T40" fmla="*/ 127000 w 132"/>
              <a:gd name="T41" fmla="*/ 64742 h 115"/>
              <a:gd name="T42" fmla="*/ 119062 w 132"/>
              <a:gd name="T43" fmla="*/ 34787 h 115"/>
              <a:gd name="T44" fmla="*/ 150812 w 132"/>
              <a:gd name="T45" fmla="*/ 11596 h 115"/>
              <a:gd name="T46" fmla="*/ 150812 w 132"/>
              <a:gd name="T47" fmla="*/ 11596 h 115"/>
              <a:gd name="T48" fmla="*/ 103187 w 132"/>
              <a:gd name="T49" fmla="*/ 0 h 115"/>
              <a:gd name="T50" fmla="*/ 63500 w 132"/>
              <a:gd name="T51" fmla="*/ 5798 h 11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2"/>
              <a:gd name="T79" fmla="*/ 0 h 115"/>
              <a:gd name="T80" fmla="*/ 132 w 132"/>
              <a:gd name="T81" fmla="*/ 115 h 11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2" h="115">
                <a:moveTo>
                  <a:pt x="48" y="6"/>
                </a:moveTo>
                <a:lnTo>
                  <a:pt x="12" y="6"/>
                </a:lnTo>
                <a:lnTo>
                  <a:pt x="0" y="0"/>
                </a:lnTo>
                <a:lnTo>
                  <a:pt x="0" y="12"/>
                </a:lnTo>
                <a:lnTo>
                  <a:pt x="6" y="30"/>
                </a:lnTo>
                <a:lnTo>
                  <a:pt x="0" y="48"/>
                </a:lnTo>
                <a:lnTo>
                  <a:pt x="6" y="61"/>
                </a:lnTo>
                <a:lnTo>
                  <a:pt x="12" y="73"/>
                </a:lnTo>
                <a:lnTo>
                  <a:pt x="48" y="73"/>
                </a:lnTo>
                <a:lnTo>
                  <a:pt x="66" y="73"/>
                </a:lnTo>
                <a:lnTo>
                  <a:pt x="72" y="67"/>
                </a:lnTo>
                <a:lnTo>
                  <a:pt x="72" y="73"/>
                </a:lnTo>
                <a:lnTo>
                  <a:pt x="66" y="85"/>
                </a:lnTo>
                <a:lnTo>
                  <a:pt x="60" y="91"/>
                </a:lnTo>
                <a:lnTo>
                  <a:pt x="66" y="115"/>
                </a:lnTo>
                <a:lnTo>
                  <a:pt x="90" y="97"/>
                </a:lnTo>
                <a:lnTo>
                  <a:pt x="114" y="97"/>
                </a:lnTo>
                <a:lnTo>
                  <a:pt x="126" y="79"/>
                </a:lnTo>
                <a:lnTo>
                  <a:pt x="132" y="79"/>
                </a:lnTo>
                <a:lnTo>
                  <a:pt x="96" y="67"/>
                </a:lnTo>
                <a:lnTo>
                  <a:pt x="90" y="36"/>
                </a:lnTo>
                <a:lnTo>
                  <a:pt x="114" y="12"/>
                </a:lnTo>
                <a:lnTo>
                  <a:pt x="78" y="0"/>
                </a:lnTo>
                <a:lnTo>
                  <a:pt x="48" y="6"/>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27" name="Freeform 1397"/>
          <p:cNvSpPr>
            <a:spLocks/>
          </p:cNvSpPr>
          <p:nvPr/>
        </p:nvSpPr>
        <p:spPr bwMode="auto">
          <a:xfrm>
            <a:off x="4896867" y="3316437"/>
            <a:ext cx="127000" cy="163512"/>
          </a:xfrm>
          <a:custGeom>
            <a:avLst/>
            <a:gdLst>
              <a:gd name="T0" fmla="*/ 71437 w 16"/>
              <a:gd name="T1" fmla="*/ 140153 h 28"/>
              <a:gd name="T2" fmla="*/ 71437 w 16"/>
              <a:gd name="T3" fmla="*/ 134313 h 28"/>
              <a:gd name="T4" fmla="*/ 103187 w 16"/>
              <a:gd name="T5" fmla="*/ 128474 h 28"/>
              <a:gd name="T6" fmla="*/ 127000 w 16"/>
              <a:gd name="T7" fmla="*/ 122634 h 28"/>
              <a:gd name="T8" fmla="*/ 119062 w 16"/>
              <a:gd name="T9" fmla="*/ 110955 h 28"/>
              <a:gd name="T10" fmla="*/ 111125 w 16"/>
              <a:gd name="T11" fmla="*/ 99275 h 28"/>
              <a:gd name="T12" fmla="*/ 119062 w 16"/>
              <a:gd name="T13" fmla="*/ 81756 h 28"/>
              <a:gd name="T14" fmla="*/ 111125 w 16"/>
              <a:gd name="T15" fmla="*/ 64237 h 28"/>
              <a:gd name="T16" fmla="*/ 111125 w 16"/>
              <a:gd name="T17" fmla="*/ 52557 h 28"/>
              <a:gd name="T18" fmla="*/ 103187 w 16"/>
              <a:gd name="T19" fmla="*/ 40878 h 28"/>
              <a:gd name="T20" fmla="*/ 63500 w 16"/>
              <a:gd name="T21" fmla="*/ 17519 h 28"/>
              <a:gd name="T22" fmla="*/ 47625 w 16"/>
              <a:gd name="T23" fmla="*/ 0 h 28"/>
              <a:gd name="T24" fmla="*/ 15875 w 16"/>
              <a:gd name="T25" fmla="*/ 5840 h 28"/>
              <a:gd name="T26" fmla="*/ 15875 w 16"/>
              <a:gd name="T27" fmla="*/ 11679 h 28"/>
              <a:gd name="T28" fmla="*/ 23812 w 16"/>
              <a:gd name="T29" fmla="*/ 23359 h 28"/>
              <a:gd name="T30" fmla="*/ 23812 w 16"/>
              <a:gd name="T31" fmla="*/ 35038 h 28"/>
              <a:gd name="T32" fmla="*/ 31750 w 16"/>
              <a:gd name="T33" fmla="*/ 52557 h 28"/>
              <a:gd name="T34" fmla="*/ 7938 w 16"/>
              <a:gd name="T35" fmla="*/ 75916 h 28"/>
              <a:gd name="T36" fmla="*/ 0 w 16"/>
              <a:gd name="T37" fmla="*/ 105115 h 28"/>
              <a:gd name="T38" fmla="*/ 31750 w 16"/>
              <a:gd name="T39" fmla="*/ 122634 h 28"/>
              <a:gd name="T40" fmla="*/ 31750 w 16"/>
              <a:gd name="T41" fmla="*/ 140153 h 28"/>
              <a:gd name="T42" fmla="*/ 47625 w 16"/>
              <a:gd name="T43" fmla="*/ 163512 h 28"/>
              <a:gd name="T44" fmla="*/ 63500 w 16"/>
              <a:gd name="T45" fmla="*/ 151833 h 28"/>
              <a:gd name="T46" fmla="*/ 71437 w 16"/>
              <a:gd name="T47" fmla="*/ 140153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
              <a:gd name="T73" fmla="*/ 0 h 28"/>
              <a:gd name="T74" fmla="*/ 16 w 16"/>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 h="28">
                <a:moveTo>
                  <a:pt x="9" y="24"/>
                </a:moveTo>
                <a:cubicBezTo>
                  <a:pt x="9" y="23"/>
                  <a:pt x="9" y="23"/>
                  <a:pt x="9" y="23"/>
                </a:cubicBezTo>
                <a:cubicBezTo>
                  <a:pt x="13" y="22"/>
                  <a:pt x="13" y="22"/>
                  <a:pt x="13" y="22"/>
                </a:cubicBezTo>
                <a:cubicBezTo>
                  <a:pt x="16" y="21"/>
                  <a:pt x="16" y="21"/>
                  <a:pt x="16" y="21"/>
                </a:cubicBezTo>
                <a:cubicBezTo>
                  <a:pt x="15" y="19"/>
                  <a:pt x="15" y="19"/>
                  <a:pt x="15" y="19"/>
                </a:cubicBezTo>
                <a:cubicBezTo>
                  <a:pt x="14" y="17"/>
                  <a:pt x="14" y="17"/>
                  <a:pt x="14" y="17"/>
                </a:cubicBezTo>
                <a:cubicBezTo>
                  <a:pt x="15" y="14"/>
                  <a:pt x="15" y="14"/>
                  <a:pt x="15" y="14"/>
                </a:cubicBezTo>
                <a:cubicBezTo>
                  <a:pt x="14" y="11"/>
                  <a:pt x="14" y="11"/>
                  <a:pt x="14" y="11"/>
                </a:cubicBezTo>
                <a:cubicBezTo>
                  <a:pt x="14" y="9"/>
                  <a:pt x="14" y="9"/>
                  <a:pt x="14" y="9"/>
                </a:cubicBezTo>
                <a:cubicBezTo>
                  <a:pt x="13" y="7"/>
                  <a:pt x="13" y="7"/>
                  <a:pt x="13" y="7"/>
                </a:cubicBezTo>
                <a:cubicBezTo>
                  <a:pt x="8" y="3"/>
                  <a:pt x="8" y="3"/>
                  <a:pt x="8" y="3"/>
                </a:cubicBezTo>
                <a:cubicBezTo>
                  <a:pt x="6" y="0"/>
                  <a:pt x="6" y="0"/>
                  <a:pt x="6" y="0"/>
                </a:cubicBezTo>
                <a:cubicBezTo>
                  <a:pt x="5" y="1"/>
                  <a:pt x="4" y="1"/>
                  <a:pt x="2" y="1"/>
                </a:cubicBezTo>
                <a:cubicBezTo>
                  <a:pt x="2" y="2"/>
                  <a:pt x="2" y="2"/>
                  <a:pt x="2" y="2"/>
                </a:cubicBezTo>
                <a:cubicBezTo>
                  <a:pt x="3" y="4"/>
                  <a:pt x="3" y="4"/>
                  <a:pt x="3" y="4"/>
                </a:cubicBezTo>
                <a:cubicBezTo>
                  <a:pt x="3" y="6"/>
                  <a:pt x="3" y="6"/>
                  <a:pt x="3" y="6"/>
                </a:cubicBezTo>
                <a:cubicBezTo>
                  <a:pt x="4" y="9"/>
                  <a:pt x="4" y="9"/>
                  <a:pt x="4" y="9"/>
                </a:cubicBezTo>
                <a:cubicBezTo>
                  <a:pt x="1" y="13"/>
                  <a:pt x="1" y="13"/>
                  <a:pt x="1" y="13"/>
                </a:cubicBezTo>
                <a:cubicBezTo>
                  <a:pt x="0" y="18"/>
                  <a:pt x="0" y="18"/>
                  <a:pt x="0" y="18"/>
                </a:cubicBezTo>
                <a:cubicBezTo>
                  <a:pt x="4" y="21"/>
                  <a:pt x="4" y="21"/>
                  <a:pt x="4" y="21"/>
                </a:cubicBezTo>
                <a:cubicBezTo>
                  <a:pt x="4" y="24"/>
                  <a:pt x="4" y="24"/>
                  <a:pt x="4" y="24"/>
                </a:cubicBezTo>
                <a:cubicBezTo>
                  <a:pt x="6" y="28"/>
                  <a:pt x="6" y="28"/>
                  <a:pt x="6" y="28"/>
                </a:cubicBezTo>
                <a:cubicBezTo>
                  <a:pt x="8" y="26"/>
                  <a:pt x="8" y="26"/>
                  <a:pt x="8" y="26"/>
                </a:cubicBezTo>
                <a:lnTo>
                  <a:pt x="9" y="24"/>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28" name="Freeform 1398"/>
          <p:cNvSpPr>
            <a:spLocks/>
          </p:cNvSpPr>
          <p:nvPr/>
        </p:nvSpPr>
        <p:spPr bwMode="auto">
          <a:xfrm>
            <a:off x="4779392" y="3291037"/>
            <a:ext cx="147637" cy="128587"/>
          </a:xfrm>
          <a:custGeom>
            <a:avLst/>
            <a:gdLst>
              <a:gd name="T0" fmla="*/ 147637 w 19"/>
              <a:gd name="T1" fmla="*/ 75983 h 22"/>
              <a:gd name="T2" fmla="*/ 139867 w 19"/>
              <a:gd name="T3" fmla="*/ 58449 h 22"/>
              <a:gd name="T4" fmla="*/ 139867 w 19"/>
              <a:gd name="T5" fmla="*/ 46759 h 22"/>
              <a:gd name="T6" fmla="*/ 132096 w 19"/>
              <a:gd name="T7" fmla="*/ 35069 h 22"/>
              <a:gd name="T8" fmla="*/ 132096 w 19"/>
              <a:gd name="T9" fmla="*/ 29224 h 22"/>
              <a:gd name="T10" fmla="*/ 124326 w 19"/>
              <a:gd name="T11" fmla="*/ 29224 h 22"/>
              <a:gd name="T12" fmla="*/ 93244 w 19"/>
              <a:gd name="T13" fmla="*/ 23379 h 22"/>
              <a:gd name="T14" fmla="*/ 69933 w 19"/>
              <a:gd name="T15" fmla="*/ 11690 h 22"/>
              <a:gd name="T16" fmla="*/ 62163 w 19"/>
              <a:gd name="T17" fmla="*/ 0 h 22"/>
              <a:gd name="T18" fmla="*/ 38852 w 19"/>
              <a:gd name="T19" fmla="*/ 11690 h 22"/>
              <a:gd name="T20" fmla="*/ 7770 w 19"/>
              <a:gd name="T21" fmla="*/ 11690 h 22"/>
              <a:gd name="T22" fmla="*/ 0 w 19"/>
              <a:gd name="T23" fmla="*/ 11690 h 22"/>
              <a:gd name="T24" fmla="*/ 0 w 19"/>
              <a:gd name="T25" fmla="*/ 29224 h 22"/>
              <a:gd name="T26" fmla="*/ 0 w 19"/>
              <a:gd name="T27" fmla="*/ 40914 h 22"/>
              <a:gd name="T28" fmla="*/ 15541 w 19"/>
              <a:gd name="T29" fmla="*/ 40914 h 22"/>
              <a:gd name="T30" fmla="*/ 46622 w 19"/>
              <a:gd name="T31" fmla="*/ 70138 h 22"/>
              <a:gd name="T32" fmla="*/ 62163 w 19"/>
              <a:gd name="T33" fmla="*/ 99363 h 22"/>
              <a:gd name="T34" fmla="*/ 116556 w 19"/>
              <a:gd name="T35" fmla="*/ 128587 h 22"/>
              <a:gd name="T36" fmla="*/ 124326 w 19"/>
              <a:gd name="T37" fmla="*/ 99363 h 22"/>
              <a:gd name="T38" fmla="*/ 147637 w 19"/>
              <a:gd name="T39" fmla="*/ 75983 h 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
              <a:gd name="T61" fmla="*/ 0 h 22"/>
              <a:gd name="T62" fmla="*/ 19 w 19"/>
              <a:gd name="T63" fmla="*/ 22 h 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 h="22">
                <a:moveTo>
                  <a:pt x="19" y="13"/>
                </a:moveTo>
                <a:cubicBezTo>
                  <a:pt x="18" y="10"/>
                  <a:pt x="18" y="10"/>
                  <a:pt x="18" y="10"/>
                </a:cubicBezTo>
                <a:cubicBezTo>
                  <a:pt x="18" y="8"/>
                  <a:pt x="18" y="8"/>
                  <a:pt x="18" y="8"/>
                </a:cubicBezTo>
                <a:cubicBezTo>
                  <a:pt x="17" y="6"/>
                  <a:pt x="17" y="6"/>
                  <a:pt x="17" y="6"/>
                </a:cubicBezTo>
                <a:cubicBezTo>
                  <a:pt x="17" y="5"/>
                  <a:pt x="17" y="5"/>
                  <a:pt x="17" y="5"/>
                </a:cubicBezTo>
                <a:cubicBezTo>
                  <a:pt x="17" y="5"/>
                  <a:pt x="16" y="5"/>
                  <a:pt x="16" y="5"/>
                </a:cubicBezTo>
                <a:cubicBezTo>
                  <a:pt x="15" y="5"/>
                  <a:pt x="12" y="4"/>
                  <a:pt x="12" y="4"/>
                </a:cubicBezTo>
                <a:cubicBezTo>
                  <a:pt x="9" y="2"/>
                  <a:pt x="9" y="2"/>
                  <a:pt x="9" y="2"/>
                </a:cubicBezTo>
                <a:cubicBezTo>
                  <a:pt x="8" y="0"/>
                  <a:pt x="8" y="0"/>
                  <a:pt x="8" y="0"/>
                </a:cubicBezTo>
                <a:cubicBezTo>
                  <a:pt x="5" y="2"/>
                  <a:pt x="5" y="2"/>
                  <a:pt x="5" y="2"/>
                </a:cubicBezTo>
                <a:cubicBezTo>
                  <a:pt x="1" y="2"/>
                  <a:pt x="1" y="2"/>
                  <a:pt x="1" y="2"/>
                </a:cubicBezTo>
                <a:cubicBezTo>
                  <a:pt x="0" y="2"/>
                  <a:pt x="0" y="2"/>
                  <a:pt x="0" y="2"/>
                </a:cubicBezTo>
                <a:cubicBezTo>
                  <a:pt x="0" y="5"/>
                  <a:pt x="0" y="5"/>
                  <a:pt x="0" y="5"/>
                </a:cubicBezTo>
                <a:cubicBezTo>
                  <a:pt x="0" y="7"/>
                  <a:pt x="0" y="7"/>
                  <a:pt x="0" y="7"/>
                </a:cubicBezTo>
                <a:cubicBezTo>
                  <a:pt x="2" y="7"/>
                  <a:pt x="2" y="7"/>
                  <a:pt x="2" y="7"/>
                </a:cubicBezTo>
                <a:cubicBezTo>
                  <a:pt x="6" y="12"/>
                  <a:pt x="6" y="12"/>
                  <a:pt x="6" y="12"/>
                </a:cubicBezTo>
                <a:cubicBezTo>
                  <a:pt x="8" y="17"/>
                  <a:pt x="8" y="17"/>
                  <a:pt x="8" y="17"/>
                </a:cubicBezTo>
                <a:cubicBezTo>
                  <a:pt x="15" y="22"/>
                  <a:pt x="15" y="22"/>
                  <a:pt x="15" y="22"/>
                </a:cubicBezTo>
                <a:cubicBezTo>
                  <a:pt x="16" y="17"/>
                  <a:pt x="16" y="17"/>
                  <a:pt x="16" y="17"/>
                </a:cubicBezTo>
                <a:lnTo>
                  <a:pt x="19" y="13"/>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29" name="Freeform 1399"/>
          <p:cNvSpPr>
            <a:spLocks/>
          </p:cNvSpPr>
          <p:nvPr/>
        </p:nvSpPr>
        <p:spPr bwMode="auto">
          <a:xfrm>
            <a:off x="4936554" y="3046562"/>
            <a:ext cx="77788" cy="34925"/>
          </a:xfrm>
          <a:custGeom>
            <a:avLst/>
            <a:gdLst>
              <a:gd name="T0" fmla="*/ 70009 w 60"/>
              <a:gd name="T1" fmla="*/ 34925 h 36"/>
              <a:gd name="T2" fmla="*/ 77788 w 60"/>
              <a:gd name="T3" fmla="*/ 23283 h 36"/>
              <a:gd name="T4" fmla="*/ 70009 w 60"/>
              <a:gd name="T5" fmla="*/ 11642 h 36"/>
              <a:gd name="T6" fmla="*/ 54452 w 60"/>
              <a:gd name="T7" fmla="*/ 5821 h 36"/>
              <a:gd name="T8" fmla="*/ 38894 w 60"/>
              <a:gd name="T9" fmla="*/ 0 h 36"/>
              <a:gd name="T10" fmla="*/ 23336 w 60"/>
              <a:gd name="T11" fmla="*/ 0 h 36"/>
              <a:gd name="T12" fmla="*/ 7779 w 60"/>
              <a:gd name="T13" fmla="*/ 11642 h 36"/>
              <a:gd name="T14" fmla="*/ 0 w 60"/>
              <a:gd name="T15" fmla="*/ 17463 h 36"/>
              <a:gd name="T16" fmla="*/ 15558 w 60"/>
              <a:gd name="T17" fmla="*/ 29104 h 36"/>
              <a:gd name="T18" fmla="*/ 70009 w 60"/>
              <a:gd name="T19" fmla="*/ 34925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36"/>
              <a:gd name="T32" fmla="*/ 60 w 60"/>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30" name="Freeform 1400"/>
          <p:cNvSpPr>
            <a:spLocks/>
          </p:cNvSpPr>
          <p:nvPr/>
        </p:nvSpPr>
        <p:spPr bwMode="auto">
          <a:xfrm>
            <a:off x="4795267" y="3064024"/>
            <a:ext cx="242887" cy="163513"/>
          </a:xfrm>
          <a:custGeom>
            <a:avLst/>
            <a:gdLst>
              <a:gd name="T0" fmla="*/ 7835 w 31"/>
              <a:gd name="T1" fmla="*/ 52558 h 28"/>
              <a:gd name="T2" fmla="*/ 7835 w 31"/>
              <a:gd name="T3" fmla="*/ 58398 h 28"/>
              <a:gd name="T4" fmla="*/ 7835 w 31"/>
              <a:gd name="T5" fmla="*/ 75917 h 28"/>
              <a:gd name="T6" fmla="*/ 15670 w 31"/>
              <a:gd name="T7" fmla="*/ 99276 h 28"/>
              <a:gd name="T8" fmla="*/ 15670 w 31"/>
              <a:gd name="T9" fmla="*/ 116795 h 28"/>
              <a:gd name="T10" fmla="*/ 47010 w 31"/>
              <a:gd name="T11" fmla="*/ 128475 h 28"/>
              <a:gd name="T12" fmla="*/ 78351 w 31"/>
              <a:gd name="T13" fmla="*/ 140154 h 28"/>
              <a:gd name="T14" fmla="*/ 117526 w 31"/>
              <a:gd name="T15" fmla="*/ 151834 h 28"/>
              <a:gd name="T16" fmla="*/ 117526 w 31"/>
              <a:gd name="T17" fmla="*/ 151834 h 28"/>
              <a:gd name="T18" fmla="*/ 148866 w 31"/>
              <a:gd name="T19" fmla="*/ 163513 h 28"/>
              <a:gd name="T20" fmla="*/ 180206 w 31"/>
              <a:gd name="T21" fmla="*/ 163513 h 28"/>
              <a:gd name="T22" fmla="*/ 195877 w 31"/>
              <a:gd name="T23" fmla="*/ 163513 h 28"/>
              <a:gd name="T24" fmla="*/ 211547 w 31"/>
              <a:gd name="T25" fmla="*/ 163513 h 28"/>
              <a:gd name="T26" fmla="*/ 227217 w 31"/>
              <a:gd name="T27" fmla="*/ 134314 h 28"/>
              <a:gd name="T28" fmla="*/ 242887 w 31"/>
              <a:gd name="T29" fmla="*/ 122635 h 28"/>
              <a:gd name="T30" fmla="*/ 235052 w 31"/>
              <a:gd name="T31" fmla="*/ 99276 h 28"/>
              <a:gd name="T32" fmla="*/ 235052 w 31"/>
              <a:gd name="T33" fmla="*/ 87596 h 28"/>
              <a:gd name="T34" fmla="*/ 227217 w 31"/>
              <a:gd name="T35" fmla="*/ 70077 h 28"/>
              <a:gd name="T36" fmla="*/ 242887 w 31"/>
              <a:gd name="T37" fmla="*/ 58398 h 28"/>
              <a:gd name="T38" fmla="*/ 235052 w 31"/>
              <a:gd name="T39" fmla="*/ 35039 h 28"/>
              <a:gd name="T40" fmla="*/ 219382 w 31"/>
              <a:gd name="T41" fmla="*/ 17519 h 28"/>
              <a:gd name="T42" fmla="*/ 211547 w 31"/>
              <a:gd name="T43" fmla="*/ 17519 h 28"/>
              <a:gd name="T44" fmla="*/ 156701 w 31"/>
              <a:gd name="T45" fmla="*/ 11680 h 28"/>
              <a:gd name="T46" fmla="*/ 141031 w 31"/>
              <a:gd name="T47" fmla="*/ 0 h 28"/>
              <a:gd name="T48" fmla="*/ 141031 w 31"/>
              <a:gd name="T49" fmla="*/ 5840 h 28"/>
              <a:gd name="T50" fmla="*/ 117526 w 31"/>
              <a:gd name="T51" fmla="*/ 5840 h 28"/>
              <a:gd name="T52" fmla="*/ 109691 w 31"/>
              <a:gd name="T53" fmla="*/ 0 h 28"/>
              <a:gd name="T54" fmla="*/ 101856 w 31"/>
              <a:gd name="T55" fmla="*/ 0 h 28"/>
              <a:gd name="T56" fmla="*/ 39175 w 31"/>
              <a:gd name="T57" fmla="*/ 17519 h 28"/>
              <a:gd name="T58" fmla="*/ 7835 w 31"/>
              <a:gd name="T59" fmla="*/ 29199 h 28"/>
              <a:gd name="T60" fmla="*/ 0 w 31"/>
              <a:gd name="T61" fmla="*/ 23359 h 28"/>
              <a:gd name="T62" fmla="*/ 0 w 31"/>
              <a:gd name="T63" fmla="*/ 35039 h 28"/>
              <a:gd name="T64" fmla="*/ 7835 w 31"/>
              <a:gd name="T65" fmla="*/ 52558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
              <a:gd name="T100" fmla="*/ 0 h 28"/>
              <a:gd name="T101" fmla="*/ 31 w 31"/>
              <a:gd name="T102" fmla="*/ 28 h 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31" name="Freeform 1401"/>
          <p:cNvSpPr>
            <a:spLocks/>
          </p:cNvSpPr>
          <p:nvPr/>
        </p:nvSpPr>
        <p:spPr bwMode="auto">
          <a:xfrm>
            <a:off x="4598417" y="3275162"/>
            <a:ext cx="109537" cy="44450"/>
          </a:xfrm>
          <a:custGeom>
            <a:avLst/>
            <a:gdLst>
              <a:gd name="T0" fmla="*/ 86065 w 84"/>
              <a:gd name="T1" fmla="*/ 11113 h 48"/>
              <a:gd name="T2" fmla="*/ 78241 w 84"/>
              <a:gd name="T3" fmla="*/ 5556 h 48"/>
              <a:gd name="T4" fmla="*/ 62593 w 84"/>
              <a:gd name="T5" fmla="*/ 0 h 48"/>
              <a:gd name="T6" fmla="*/ 39120 w 84"/>
              <a:gd name="T7" fmla="*/ 5556 h 48"/>
              <a:gd name="T8" fmla="*/ 31296 w 84"/>
              <a:gd name="T9" fmla="*/ 0 h 48"/>
              <a:gd name="T10" fmla="*/ 31296 w 84"/>
              <a:gd name="T11" fmla="*/ 0 h 48"/>
              <a:gd name="T12" fmla="*/ 23472 w 84"/>
              <a:gd name="T13" fmla="*/ 5556 h 48"/>
              <a:gd name="T14" fmla="*/ 0 w 84"/>
              <a:gd name="T15" fmla="*/ 22225 h 48"/>
              <a:gd name="T16" fmla="*/ 0 w 84"/>
              <a:gd name="T17" fmla="*/ 33338 h 48"/>
              <a:gd name="T18" fmla="*/ 15648 w 84"/>
              <a:gd name="T19" fmla="*/ 33338 h 48"/>
              <a:gd name="T20" fmla="*/ 23472 w 84"/>
              <a:gd name="T21" fmla="*/ 44450 h 48"/>
              <a:gd name="T22" fmla="*/ 23472 w 84"/>
              <a:gd name="T23" fmla="*/ 44450 h 48"/>
              <a:gd name="T24" fmla="*/ 31296 w 84"/>
              <a:gd name="T25" fmla="*/ 44450 h 48"/>
              <a:gd name="T26" fmla="*/ 54769 w 84"/>
              <a:gd name="T27" fmla="*/ 33338 h 48"/>
              <a:gd name="T28" fmla="*/ 62593 w 84"/>
              <a:gd name="T29" fmla="*/ 38894 h 48"/>
              <a:gd name="T30" fmla="*/ 86065 w 84"/>
              <a:gd name="T31" fmla="*/ 33338 h 48"/>
              <a:gd name="T32" fmla="*/ 101713 w 84"/>
              <a:gd name="T33" fmla="*/ 27781 h 48"/>
              <a:gd name="T34" fmla="*/ 109537 w 84"/>
              <a:gd name="T35" fmla="*/ 27781 h 48"/>
              <a:gd name="T36" fmla="*/ 101713 w 84"/>
              <a:gd name="T37" fmla="*/ 22225 h 48"/>
              <a:gd name="T38" fmla="*/ 86065 w 84"/>
              <a:gd name="T39" fmla="*/ 11113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4"/>
              <a:gd name="T61" fmla="*/ 0 h 48"/>
              <a:gd name="T62" fmla="*/ 84 w 84"/>
              <a:gd name="T63" fmla="*/ 48 h 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4" h="48">
                <a:moveTo>
                  <a:pt x="66" y="12"/>
                </a:moveTo>
                <a:lnTo>
                  <a:pt x="60" y="6"/>
                </a:lnTo>
                <a:lnTo>
                  <a:pt x="48" y="0"/>
                </a:lnTo>
                <a:lnTo>
                  <a:pt x="30" y="6"/>
                </a:lnTo>
                <a:lnTo>
                  <a:pt x="24" y="0"/>
                </a:lnTo>
                <a:lnTo>
                  <a:pt x="18" y="6"/>
                </a:lnTo>
                <a:lnTo>
                  <a:pt x="0" y="24"/>
                </a:lnTo>
                <a:lnTo>
                  <a:pt x="0" y="36"/>
                </a:lnTo>
                <a:lnTo>
                  <a:pt x="12" y="36"/>
                </a:lnTo>
                <a:lnTo>
                  <a:pt x="18" y="48"/>
                </a:lnTo>
                <a:lnTo>
                  <a:pt x="24" y="48"/>
                </a:lnTo>
                <a:lnTo>
                  <a:pt x="42" y="36"/>
                </a:lnTo>
                <a:lnTo>
                  <a:pt x="48" y="42"/>
                </a:lnTo>
                <a:lnTo>
                  <a:pt x="66" y="36"/>
                </a:lnTo>
                <a:lnTo>
                  <a:pt x="78" y="30"/>
                </a:lnTo>
                <a:lnTo>
                  <a:pt x="84" y="30"/>
                </a:lnTo>
                <a:lnTo>
                  <a:pt x="78" y="24"/>
                </a:lnTo>
                <a:lnTo>
                  <a:pt x="66" y="12"/>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32" name="Freeform 1402"/>
          <p:cNvSpPr>
            <a:spLocks/>
          </p:cNvSpPr>
          <p:nvPr/>
        </p:nvSpPr>
        <p:spPr bwMode="auto">
          <a:xfrm>
            <a:off x="4646042" y="2970362"/>
            <a:ext cx="71437" cy="93662"/>
          </a:xfrm>
          <a:custGeom>
            <a:avLst/>
            <a:gdLst>
              <a:gd name="T0" fmla="*/ 47625 w 9"/>
              <a:gd name="T1" fmla="*/ 93662 h 16"/>
              <a:gd name="T2" fmla="*/ 39687 w 9"/>
              <a:gd name="T3" fmla="*/ 76100 h 16"/>
              <a:gd name="T4" fmla="*/ 47625 w 9"/>
              <a:gd name="T5" fmla="*/ 52685 h 16"/>
              <a:gd name="T6" fmla="*/ 63500 w 9"/>
              <a:gd name="T7" fmla="*/ 52685 h 16"/>
              <a:gd name="T8" fmla="*/ 71437 w 9"/>
              <a:gd name="T9" fmla="*/ 40977 h 16"/>
              <a:gd name="T10" fmla="*/ 55562 w 9"/>
              <a:gd name="T11" fmla="*/ 35123 h 16"/>
              <a:gd name="T12" fmla="*/ 55562 w 9"/>
              <a:gd name="T13" fmla="*/ 23416 h 16"/>
              <a:gd name="T14" fmla="*/ 55562 w 9"/>
              <a:gd name="T15" fmla="*/ 0 h 16"/>
              <a:gd name="T16" fmla="*/ 31750 w 9"/>
              <a:gd name="T17" fmla="*/ 11708 h 16"/>
              <a:gd name="T18" fmla="*/ 7937 w 9"/>
              <a:gd name="T19" fmla="*/ 17562 h 16"/>
              <a:gd name="T20" fmla="*/ 0 w 9"/>
              <a:gd name="T21" fmla="*/ 40977 h 16"/>
              <a:gd name="T22" fmla="*/ 0 w 9"/>
              <a:gd name="T23" fmla="*/ 64393 h 16"/>
              <a:gd name="T24" fmla="*/ 15875 w 9"/>
              <a:gd name="T25" fmla="*/ 70246 h 16"/>
              <a:gd name="T26" fmla="*/ 23812 w 9"/>
              <a:gd name="T27" fmla="*/ 93662 h 16"/>
              <a:gd name="T28" fmla="*/ 31750 w 9"/>
              <a:gd name="T29" fmla="*/ 87808 h 16"/>
              <a:gd name="T30" fmla="*/ 47625 w 9"/>
              <a:gd name="T31" fmla="*/ 93662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6"/>
              <a:gd name="T50" fmla="*/ 9 w 9"/>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6">
                <a:moveTo>
                  <a:pt x="6" y="16"/>
                </a:moveTo>
                <a:cubicBezTo>
                  <a:pt x="5" y="15"/>
                  <a:pt x="5" y="14"/>
                  <a:pt x="5" y="13"/>
                </a:cubicBezTo>
                <a:cubicBezTo>
                  <a:pt x="5" y="11"/>
                  <a:pt x="6" y="9"/>
                  <a:pt x="6" y="9"/>
                </a:cubicBezTo>
                <a:cubicBezTo>
                  <a:pt x="8" y="9"/>
                  <a:pt x="8" y="9"/>
                  <a:pt x="8" y="9"/>
                </a:cubicBezTo>
                <a:cubicBezTo>
                  <a:pt x="9" y="7"/>
                  <a:pt x="9" y="7"/>
                  <a:pt x="9" y="7"/>
                </a:cubicBezTo>
                <a:cubicBezTo>
                  <a:pt x="7" y="6"/>
                  <a:pt x="7" y="6"/>
                  <a:pt x="7" y="6"/>
                </a:cubicBezTo>
                <a:cubicBezTo>
                  <a:pt x="7" y="4"/>
                  <a:pt x="7" y="4"/>
                  <a:pt x="7" y="4"/>
                </a:cubicBezTo>
                <a:cubicBezTo>
                  <a:pt x="7" y="0"/>
                  <a:pt x="7" y="0"/>
                  <a:pt x="7" y="0"/>
                </a:cubicBezTo>
                <a:cubicBezTo>
                  <a:pt x="4" y="2"/>
                  <a:pt x="4" y="2"/>
                  <a:pt x="4" y="2"/>
                </a:cubicBezTo>
                <a:cubicBezTo>
                  <a:pt x="1" y="3"/>
                  <a:pt x="1" y="3"/>
                  <a:pt x="1" y="3"/>
                </a:cubicBezTo>
                <a:cubicBezTo>
                  <a:pt x="0" y="7"/>
                  <a:pt x="0" y="7"/>
                  <a:pt x="0" y="7"/>
                </a:cubicBezTo>
                <a:cubicBezTo>
                  <a:pt x="0" y="11"/>
                  <a:pt x="0" y="11"/>
                  <a:pt x="0" y="11"/>
                </a:cubicBezTo>
                <a:cubicBezTo>
                  <a:pt x="2" y="12"/>
                  <a:pt x="2" y="12"/>
                  <a:pt x="2" y="12"/>
                </a:cubicBezTo>
                <a:cubicBezTo>
                  <a:pt x="3" y="16"/>
                  <a:pt x="3" y="16"/>
                  <a:pt x="3" y="16"/>
                </a:cubicBezTo>
                <a:cubicBezTo>
                  <a:pt x="4" y="15"/>
                  <a:pt x="4" y="15"/>
                  <a:pt x="4" y="15"/>
                </a:cubicBezTo>
                <a:lnTo>
                  <a:pt x="6" y="16"/>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33" name="Freeform 1403"/>
          <p:cNvSpPr>
            <a:spLocks/>
          </p:cNvSpPr>
          <p:nvPr/>
        </p:nvSpPr>
        <p:spPr bwMode="auto">
          <a:xfrm>
            <a:off x="4512692" y="3162449"/>
            <a:ext cx="85725" cy="58738"/>
          </a:xfrm>
          <a:custGeom>
            <a:avLst/>
            <a:gdLst>
              <a:gd name="T0" fmla="*/ 23380 w 66"/>
              <a:gd name="T1" fmla="*/ 29369 h 60"/>
              <a:gd name="T2" fmla="*/ 31173 w 66"/>
              <a:gd name="T3" fmla="*/ 41117 h 60"/>
              <a:gd name="T4" fmla="*/ 46759 w 66"/>
              <a:gd name="T5" fmla="*/ 46990 h 60"/>
              <a:gd name="T6" fmla="*/ 62345 w 66"/>
              <a:gd name="T7" fmla="*/ 52864 h 60"/>
              <a:gd name="T8" fmla="*/ 70139 w 66"/>
              <a:gd name="T9" fmla="*/ 58738 h 60"/>
              <a:gd name="T10" fmla="*/ 77932 w 66"/>
              <a:gd name="T11" fmla="*/ 46990 h 60"/>
              <a:gd name="T12" fmla="*/ 85725 w 66"/>
              <a:gd name="T13" fmla="*/ 35243 h 60"/>
              <a:gd name="T14" fmla="*/ 77932 w 66"/>
              <a:gd name="T15" fmla="*/ 23495 h 60"/>
              <a:gd name="T16" fmla="*/ 77932 w 66"/>
              <a:gd name="T17" fmla="*/ 23495 h 60"/>
              <a:gd name="T18" fmla="*/ 70139 w 66"/>
              <a:gd name="T19" fmla="*/ 17621 h 60"/>
              <a:gd name="T20" fmla="*/ 62345 w 66"/>
              <a:gd name="T21" fmla="*/ 11748 h 60"/>
              <a:gd name="T22" fmla="*/ 46759 w 66"/>
              <a:gd name="T23" fmla="*/ 5874 h 60"/>
              <a:gd name="T24" fmla="*/ 31173 w 66"/>
              <a:gd name="T25" fmla="*/ 5874 h 60"/>
              <a:gd name="T26" fmla="*/ 23380 w 66"/>
              <a:gd name="T27" fmla="*/ 0 h 60"/>
              <a:gd name="T28" fmla="*/ 7793 w 66"/>
              <a:gd name="T29" fmla="*/ 5874 h 60"/>
              <a:gd name="T30" fmla="*/ 0 w 66"/>
              <a:gd name="T31" fmla="*/ 11748 h 60"/>
              <a:gd name="T32" fmla="*/ 7793 w 66"/>
              <a:gd name="T33" fmla="*/ 23495 h 60"/>
              <a:gd name="T34" fmla="*/ 23380 w 66"/>
              <a:gd name="T35" fmla="*/ 29369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60"/>
              <a:gd name="T56" fmla="*/ 66 w 66"/>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60">
                <a:moveTo>
                  <a:pt x="18" y="30"/>
                </a:moveTo>
                <a:lnTo>
                  <a:pt x="24" y="42"/>
                </a:lnTo>
                <a:lnTo>
                  <a:pt x="36" y="48"/>
                </a:lnTo>
                <a:lnTo>
                  <a:pt x="48" y="54"/>
                </a:lnTo>
                <a:lnTo>
                  <a:pt x="54" y="60"/>
                </a:lnTo>
                <a:lnTo>
                  <a:pt x="60" y="48"/>
                </a:lnTo>
                <a:lnTo>
                  <a:pt x="66" y="36"/>
                </a:lnTo>
                <a:lnTo>
                  <a:pt x="60" y="24"/>
                </a:lnTo>
                <a:lnTo>
                  <a:pt x="54" y="18"/>
                </a:lnTo>
                <a:lnTo>
                  <a:pt x="48" y="12"/>
                </a:lnTo>
                <a:lnTo>
                  <a:pt x="36" y="6"/>
                </a:lnTo>
                <a:lnTo>
                  <a:pt x="24" y="6"/>
                </a:lnTo>
                <a:lnTo>
                  <a:pt x="18" y="0"/>
                </a:lnTo>
                <a:lnTo>
                  <a:pt x="6" y="6"/>
                </a:lnTo>
                <a:lnTo>
                  <a:pt x="0" y="12"/>
                </a:lnTo>
                <a:lnTo>
                  <a:pt x="6" y="24"/>
                </a:lnTo>
                <a:lnTo>
                  <a:pt x="18" y="30"/>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34" name="Freeform 1404"/>
          <p:cNvSpPr>
            <a:spLocks/>
          </p:cNvSpPr>
          <p:nvPr/>
        </p:nvSpPr>
        <p:spPr bwMode="auto">
          <a:xfrm>
            <a:off x="4449192" y="3830787"/>
            <a:ext cx="393700" cy="217487"/>
          </a:xfrm>
          <a:custGeom>
            <a:avLst/>
            <a:gdLst>
              <a:gd name="T0" fmla="*/ 86614 w 300"/>
              <a:gd name="T1" fmla="*/ 217487 h 223"/>
              <a:gd name="T2" fmla="*/ 102362 w 300"/>
              <a:gd name="T3" fmla="*/ 199932 h 223"/>
              <a:gd name="T4" fmla="*/ 133858 w 300"/>
              <a:gd name="T5" fmla="*/ 199932 h 223"/>
              <a:gd name="T6" fmla="*/ 181102 w 300"/>
              <a:gd name="T7" fmla="*/ 211635 h 223"/>
              <a:gd name="T8" fmla="*/ 212598 w 300"/>
              <a:gd name="T9" fmla="*/ 199932 h 223"/>
              <a:gd name="T10" fmla="*/ 259842 w 300"/>
              <a:gd name="T11" fmla="*/ 199932 h 223"/>
              <a:gd name="T12" fmla="*/ 299212 w 300"/>
              <a:gd name="T13" fmla="*/ 194080 h 223"/>
              <a:gd name="T14" fmla="*/ 338582 w 300"/>
              <a:gd name="T15" fmla="*/ 169698 h 223"/>
              <a:gd name="T16" fmla="*/ 377952 w 300"/>
              <a:gd name="T17" fmla="*/ 134588 h 223"/>
              <a:gd name="T18" fmla="*/ 393700 w 300"/>
              <a:gd name="T19" fmla="*/ 64368 h 223"/>
              <a:gd name="T20" fmla="*/ 377952 w 300"/>
              <a:gd name="T21" fmla="*/ 52665 h 223"/>
              <a:gd name="T22" fmla="*/ 370078 w 300"/>
              <a:gd name="T23" fmla="*/ 23407 h 223"/>
              <a:gd name="T24" fmla="*/ 370078 w 300"/>
              <a:gd name="T25" fmla="*/ 17555 h 223"/>
              <a:gd name="T26" fmla="*/ 370078 w 300"/>
              <a:gd name="T27" fmla="*/ 17555 h 223"/>
              <a:gd name="T28" fmla="*/ 354330 w 300"/>
              <a:gd name="T29" fmla="*/ 5852 h 223"/>
              <a:gd name="T30" fmla="*/ 291338 w 300"/>
              <a:gd name="T31" fmla="*/ 0 h 223"/>
              <a:gd name="T32" fmla="*/ 149606 w 300"/>
              <a:gd name="T33" fmla="*/ 70220 h 223"/>
              <a:gd name="T34" fmla="*/ 102362 w 300"/>
              <a:gd name="T35" fmla="*/ 87775 h 223"/>
              <a:gd name="T36" fmla="*/ 102362 w 300"/>
              <a:gd name="T37" fmla="*/ 87775 h 223"/>
              <a:gd name="T38" fmla="*/ 102362 w 300"/>
              <a:gd name="T39" fmla="*/ 140440 h 223"/>
              <a:gd name="T40" fmla="*/ 86614 w 300"/>
              <a:gd name="T41" fmla="*/ 157995 h 223"/>
              <a:gd name="T42" fmla="*/ 31496 w 300"/>
              <a:gd name="T43" fmla="*/ 163847 h 223"/>
              <a:gd name="T44" fmla="*/ 0 w 300"/>
              <a:gd name="T45" fmla="*/ 163847 h 223"/>
              <a:gd name="T46" fmla="*/ 15748 w 300"/>
              <a:gd name="T47" fmla="*/ 188229 h 223"/>
              <a:gd name="T48" fmla="*/ 47244 w 300"/>
              <a:gd name="T49" fmla="*/ 211635 h 223"/>
              <a:gd name="T50" fmla="*/ 62992 w 300"/>
              <a:gd name="T51" fmla="*/ 211635 h 223"/>
              <a:gd name="T52" fmla="*/ 78740 w 300"/>
              <a:gd name="T53" fmla="*/ 217487 h 223"/>
              <a:gd name="T54" fmla="*/ 86614 w 300"/>
              <a:gd name="T55" fmla="*/ 21748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0"/>
              <a:gd name="T85" fmla="*/ 0 h 223"/>
              <a:gd name="T86" fmla="*/ 300 w 300"/>
              <a:gd name="T87" fmla="*/ 223 h 22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35" name="Freeform 1405"/>
          <p:cNvSpPr>
            <a:spLocks/>
          </p:cNvSpPr>
          <p:nvPr/>
        </p:nvSpPr>
        <p:spPr bwMode="auto">
          <a:xfrm>
            <a:off x="4449192" y="3830787"/>
            <a:ext cx="393700" cy="217487"/>
          </a:xfrm>
          <a:custGeom>
            <a:avLst/>
            <a:gdLst>
              <a:gd name="T0" fmla="*/ 86614 w 300"/>
              <a:gd name="T1" fmla="*/ 217487 h 223"/>
              <a:gd name="T2" fmla="*/ 102362 w 300"/>
              <a:gd name="T3" fmla="*/ 199932 h 223"/>
              <a:gd name="T4" fmla="*/ 133858 w 300"/>
              <a:gd name="T5" fmla="*/ 199932 h 223"/>
              <a:gd name="T6" fmla="*/ 181102 w 300"/>
              <a:gd name="T7" fmla="*/ 211635 h 223"/>
              <a:gd name="T8" fmla="*/ 212598 w 300"/>
              <a:gd name="T9" fmla="*/ 199932 h 223"/>
              <a:gd name="T10" fmla="*/ 259842 w 300"/>
              <a:gd name="T11" fmla="*/ 199932 h 223"/>
              <a:gd name="T12" fmla="*/ 299212 w 300"/>
              <a:gd name="T13" fmla="*/ 194080 h 223"/>
              <a:gd name="T14" fmla="*/ 338582 w 300"/>
              <a:gd name="T15" fmla="*/ 169698 h 223"/>
              <a:gd name="T16" fmla="*/ 377952 w 300"/>
              <a:gd name="T17" fmla="*/ 134588 h 223"/>
              <a:gd name="T18" fmla="*/ 393700 w 300"/>
              <a:gd name="T19" fmla="*/ 64368 h 223"/>
              <a:gd name="T20" fmla="*/ 377952 w 300"/>
              <a:gd name="T21" fmla="*/ 52665 h 223"/>
              <a:gd name="T22" fmla="*/ 370078 w 300"/>
              <a:gd name="T23" fmla="*/ 23407 h 223"/>
              <a:gd name="T24" fmla="*/ 370078 w 300"/>
              <a:gd name="T25" fmla="*/ 17555 h 223"/>
              <a:gd name="T26" fmla="*/ 370078 w 300"/>
              <a:gd name="T27" fmla="*/ 17555 h 223"/>
              <a:gd name="T28" fmla="*/ 354330 w 300"/>
              <a:gd name="T29" fmla="*/ 5852 h 223"/>
              <a:gd name="T30" fmla="*/ 291338 w 300"/>
              <a:gd name="T31" fmla="*/ 0 h 223"/>
              <a:gd name="T32" fmla="*/ 149606 w 300"/>
              <a:gd name="T33" fmla="*/ 70220 h 223"/>
              <a:gd name="T34" fmla="*/ 102362 w 300"/>
              <a:gd name="T35" fmla="*/ 87775 h 223"/>
              <a:gd name="T36" fmla="*/ 102362 w 300"/>
              <a:gd name="T37" fmla="*/ 87775 h 223"/>
              <a:gd name="T38" fmla="*/ 102362 w 300"/>
              <a:gd name="T39" fmla="*/ 140440 h 223"/>
              <a:gd name="T40" fmla="*/ 86614 w 300"/>
              <a:gd name="T41" fmla="*/ 157995 h 223"/>
              <a:gd name="T42" fmla="*/ 31496 w 300"/>
              <a:gd name="T43" fmla="*/ 163847 h 223"/>
              <a:gd name="T44" fmla="*/ 0 w 300"/>
              <a:gd name="T45" fmla="*/ 163847 h 223"/>
              <a:gd name="T46" fmla="*/ 15748 w 300"/>
              <a:gd name="T47" fmla="*/ 188229 h 223"/>
              <a:gd name="T48" fmla="*/ 47244 w 300"/>
              <a:gd name="T49" fmla="*/ 211635 h 223"/>
              <a:gd name="T50" fmla="*/ 62992 w 300"/>
              <a:gd name="T51" fmla="*/ 211635 h 223"/>
              <a:gd name="T52" fmla="*/ 78740 w 300"/>
              <a:gd name="T53" fmla="*/ 217487 h 223"/>
              <a:gd name="T54" fmla="*/ 86614 w 300"/>
              <a:gd name="T55" fmla="*/ 21748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0"/>
              <a:gd name="T85" fmla="*/ 0 h 223"/>
              <a:gd name="T86" fmla="*/ 300 w 300"/>
              <a:gd name="T87" fmla="*/ 223 h 22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36" name="Freeform 1406"/>
          <p:cNvSpPr>
            <a:spLocks/>
          </p:cNvSpPr>
          <p:nvPr/>
        </p:nvSpPr>
        <p:spPr bwMode="auto">
          <a:xfrm>
            <a:off x="4144392" y="3800624"/>
            <a:ext cx="407987" cy="288925"/>
          </a:xfrm>
          <a:custGeom>
            <a:avLst/>
            <a:gdLst>
              <a:gd name="T0" fmla="*/ 188302 w 52"/>
              <a:gd name="T1" fmla="*/ 259443 h 49"/>
              <a:gd name="T2" fmla="*/ 211839 w 52"/>
              <a:gd name="T3" fmla="*/ 235857 h 49"/>
              <a:gd name="T4" fmla="*/ 251069 w 52"/>
              <a:gd name="T5" fmla="*/ 212271 h 49"/>
              <a:gd name="T6" fmla="*/ 298144 w 52"/>
              <a:gd name="T7" fmla="*/ 194582 h 49"/>
              <a:gd name="T8" fmla="*/ 305990 w 52"/>
              <a:gd name="T9" fmla="*/ 194582 h 49"/>
              <a:gd name="T10" fmla="*/ 337374 w 52"/>
              <a:gd name="T11" fmla="*/ 194582 h 49"/>
              <a:gd name="T12" fmla="*/ 392295 w 52"/>
              <a:gd name="T13" fmla="*/ 188686 h 49"/>
              <a:gd name="T14" fmla="*/ 400141 w 52"/>
              <a:gd name="T15" fmla="*/ 170996 h 49"/>
              <a:gd name="T16" fmla="*/ 407987 w 52"/>
              <a:gd name="T17" fmla="*/ 117929 h 49"/>
              <a:gd name="T18" fmla="*/ 384449 w 52"/>
              <a:gd name="T19" fmla="*/ 117929 h 49"/>
              <a:gd name="T20" fmla="*/ 368757 w 52"/>
              <a:gd name="T21" fmla="*/ 106136 h 49"/>
              <a:gd name="T22" fmla="*/ 164764 w 52"/>
              <a:gd name="T23" fmla="*/ 0 h 49"/>
              <a:gd name="T24" fmla="*/ 141226 w 52"/>
              <a:gd name="T25" fmla="*/ 0 h 49"/>
              <a:gd name="T26" fmla="*/ 164764 w 52"/>
              <a:gd name="T27" fmla="*/ 170996 h 49"/>
              <a:gd name="T28" fmla="*/ 180456 w 52"/>
              <a:gd name="T29" fmla="*/ 176893 h 49"/>
              <a:gd name="T30" fmla="*/ 156918 w 52"/>
              <a:gd name="T31" fmla="*/ 188686 h 49"/>
              <a:gd name="T32" fmla="*/ 47075 w 52"/>
              <a:gd name="T33" fmla="*/ 188686 h 49"/>
              <a:gd name="T34" fmla="*/ 39230 w 52"/>
              <a:gd name="T35" fmla="*/ 194582 h 49"/>
              <a:gd name="T36" fmla="*/ 23538 w 52"/>
              <a:gd name="T37" fmla="*/ 182789 h 49"/>
              <a:gd name="T38" fmla="*/ 0 w 52"/>
              <a:gd name="T39" fmla="*/ 200479 h 49"/>
              <a:gd name="T40" fmla="*/ 0 w 52"/>
              <a:gd name="T41" fmla="*/ 206375 h 49"/>
              <a:gd name="T42" fmla="*/ 7846 w 52"/>
              <a:gd name="T43" fmla="*/ 224064 h 49"/>
              <a:gd name="T44" fmla="*/ 23538 w 52"/>
              <a:gd name="T45" fmla="*/ 247650 h 49"/>
              <a:gd name="T46" fmla="*/ 15692 w 52"/>
              <a:gd name="T47" fmla="*/ 247650 h 49"/>
              <a:gd name="T48" fmla="*/ 15692 w 52"/>
              <a:gd name="T49" fmla="*/ 253546 h 49"/>
              <a:gd name="T50" fmla="*/ 47075 w 52"/>
              <a:gd name="T51" fmla="*/ 253546 h 49"/>
              <a:gd name="T52" fmla="*/ 78459 w 52"/>
              <a:gd name="T53" fmla="*/ 247650 h 49"/>
              <a:gd name="T54" fmla="*/ 86305 w 52"/>
              <a:gd name="T55" fmla="*/ 259443 h 49"/>
              <a:gd name="T56" fmla="*/ 101997 w 52"/>
              <a:gd name="T57" fmla="*/ 288925 h 49"/>
              <a:gd name="T58" fmla="*/ 117689 w 52"/>
              <a:gd name="T59" fmla="*/ 283029 h 49"/>
              <a:gd name="T60" fmla="*/ 133380 w 52"/>
              <a:gd name="T61" fmla="*/ 283029 h 49"/>
              <a:gd name="T62" fmla="*/ 141226 w 52"/>
              <a:gd name="T63" fmla="*/ 283029 h 49"/>
              <a:gd name="T64" fmla="*/ 156918 w 52"/>
              <a:gd name="T65" fmla="*/ 288925 h 49"/>
              <a:gd name="T66" fmla="*/ 172610 w 52"/>
              <a:gd name="T67" fmla="*/ 288925 h 49"/>
              <a:gd name="T68" fmla="*/ 180456 w 52"/>
              <a:gd name="T69" fmla="*/ 288925 h 49"/>
              <a:gd name="T70" fmla="*/ 180456 w 52"/>
              <a:gd name="T71" fmla="*/ 277132 h 49"/>
              <a:gd name="T72" fmla="*/ 188302 w 52"/>
              <a:gd name="T73" fmla="*/ 259443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
              <a:gd name="T112" fmla="*/ 0 h 49"/>
              <a:gd name="T113" fmla="*/ 52 w 52"/>
              <a:gd name="T114" fmla="*/ 49 h 4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37" name="Freeform 1407"/>
          <p:cNvSpPr>
            <a:spLocks/>
          </p:cNvSpPr>
          <p:nvPr/>
        </p:nvSpPr>
        <p:spPr bwMode="auto">
          <a:xfrm>
            <a:off x="5471542" y="4065737"/>
            <a:ext cx="234950" cy="238125"/>
          </a:xfrm>
          <a:custGeom>
            <a:avLst/>
            <a:gdLst>
              <a:gd name="T0" fmla="*/ 93980 w 180"/>
              <a:gd name="T1" fmla="*/ 17424 h 246"/>
              <a:gd name="T2" fmla="*/ 62653 w 180"/>
              <a:gd name="T3" fmla="*/ 11616 h 246"/>
              <a:gd name="T4" fmla="*/ 62653 w 180"/>
              <a:gd name="T5" fmla="*/ 5808 h 246"/>
              <a:gd name="T6" fmla="*/ 39158 w 180"/>
              <a:gd name="T7" fmla="*/ 17424 h 246"/>
              <a:gd name="T8" fmla="*/ 54822 w 180"/>
              <a:gd name="T9" fmla="*/ 34848 h 246"/>
              <a:gd name="T10" fmla="*/ 109643 w 180"/>
              <a:gd name="T11" fmla="*/ 58079 h 246"/>
              <a:gd name="T12" fmla="*/ 164465 w 180"/>
              <a:gd name="T13" fmla="*/ 63887 h 246"/>
              <a:gd name="T14" fmla="*/ 101812 w 180"/>
              <a:gd name="T15" fmla="*/ 116159 h 246"/>
              <a:gd name="T16" fmla="*/ 46990 w 180"/>
              <a:gd name="T17" fmla="*/ 127774 h 246"/>
              <a:gd name="T18" fmla="*/ 23495 w 180"/>
              <a:gd name="T19" fmla="*/ 139390 h 246"/>
              <a:gd name="T20" fmla="*/ 31327 w 180"/>
              <a:gd name="T21" fmla="*/ 145198 h 246"/>
              <a:gd name="T22" fmla="*/ 23495 w 180"/>
              <a:gd name="T23" fmla="*/ 139390 h 246"/>
              <a:gd name="T24" fmla="*/ 23495 w 180"/>
              <a:gd name="T25" fmla="*/ 145198 h 246"/>
              <a:gd name="T26" fmla="*/ 0 w 180"/>
              <a:gd name="T27" fmla="*/ 162622 h 246"/>
              <a:gd name="T28" fmla="*/ 0 w 180"/>
              <a:gd name="T29" fmla="*/ 220701 h 246"/>
              <a:gd name="T30" fmla="*/ 15663 w 180"/>
              <a:gd name="T31" fmla="*/ 238125 h 246"/>
              <a:gd name="T32" fmla="*/ 54822 w 180"/>
              <a:gd name="T33" fmla="*/ 197470 h 246"/>
              <a:gd name="T34" fmla="*/ 117475 w 180"/>
              <a:gd name="T35" fmla="*/ 174238 h 246"/>
              <a:gd name="T36" fmla="*/ 172297 w 180"/>
              <a:gd name="T37" fmla="*/ 127774 h 246"/>
              <a:gd name="T38" fmla="*/ 219287 w 180"/>
              <a:gd name="T39" fmla="*/ 46463 h 246"/>
              <a:gd name="T40" fmla="*/ 234950 w 180"/>
              <a:gd name="T41" fmla="*/ 0 h 246"/>
              <a:gd name="T42" fmla="*/ 93980 w 180"/>
              <a:gd name="T43" fmla="*/ 17424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0"/>
              <a:gd name="T67" fmla="*/ 0 h 246"/>
              <a:gd name="T68" fmla="*/ 180 w 180"/>
              <a:gd name="T69" fmla="*/ 246 h 2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38" name="Freeform 1408"/>
          <p:cNvSpPr>
            <a:spLocks/>
          </p:cNvSpPr>
          <p:nvPr/>
        </p:nvSpPr>
        <p:spPr bwMode="auto">
          <a:xfrm>
            <a:off x="4795267" y="4048274"/>
            <a:ext cx="31750" cy="93663"/>
          </a:xfrm>
          <a:custGeom>
            <a:avLst/>
            <a:gdLst>
              <a:gd name="T0" fmla="*/ 15875 w 24"/>
              <a:gd name="T1" fmla="*/ 0 h 96"/>
              <a:gd name="T2" fmla="*/ 15875 w 24"/>
              <a:gd name="T3" fmla="*/ 0 h 96"/>
              <a:gd name="T4" fmla="*/ 31750 w 24"/>
              <a:gd name="T5" fmla="*/ 40978 h 96"/>
              <a:gd name="T6" fmla="*/ 0 w 24"/>
              <a:gd name="T7" fmla="*/ 46832 h 96"/>
              <a:gd name="T8" fmla="*/ 0 w 24"/>
              <a:gd name="T9" fmla="*/ 64393 h 96"/>
              <a:gd name="T10" fmla="*/ 23813 w 24"/>
              <a:gd name="T11" fmla="*/ 93663 h 96"/>
              <a:gd name="T12" fmla="*/ 31750 w 24"/>
              <a:gd name="T13" fmla="*/ 93663 h 96"/>
              <a:gd name="T14" fmla="*/ 15875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96"/>
              <a:gd name="T26" fmla="*/ 24 w 24"/>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96">
                <a:moveTo>
                  <a:pt x="12" y="0"/>
                </a:moveTo>
                <a:lnTo>
                  <a:pt x="12" y="0"/>
                </a:lnTo>
                <a:lnTo>
                  <a:pt x="24" y="42"/>
                </a:lnTo>
                <a:lnTo>
                  <a:pt x="0" y="48"/>
                </a:lnTo>
                <a:lnTo>
                  <a:pt x="0" y="66"/>
                </a:lnTo>
                <a:lnTo>
                  <a:pt x="18" y="96"/>
                </a:lnTo>
                <a:lnTo>
                  <a:pt x="24" y="96"/>
                </a:lnTo>
                <a:lnTo>
                  <a:pt x="12" y="0"/>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39" name="Freeform 1409"/>
          <p:cNvSpPr>
            <a:spLocks/>
          </p:cNvSpPr>
          <p:nvPr/>
        </p:nvSpPr>
        <p:spPr bwMode="auto">
          <a:xfrm>
            <a:off x="4795267" y="4048274"/>
            <a:ext cx="31750" cy="93663"/>
          </a:xfrm>
          <a:custGeom>
            <a:avLst/>
            <a:gdLst>
              <a:gd name="T0" fmla="*/ 15875 w 24"/>
              <a:gd name="T1" fmla="*/ 0 h 96"/>
              <a:gd name="T2" fmla="*/ 15875 w 24"/>
              <a:gd name="T3" fmla="*/ 0 h 96"/>
              <a:gd name="T4" fmla="*/ 31750 w 24"/>
              <a:gd name="T5" fmla="*/ 40978 h 96"/>
              <a:gd name="T6" fmla="*/ 0 w 24"/>
              <a:gd name="T7" fmla="*/ 46832 h 96"/>
              <a:gd name="T8" fmla="*/ 0 w 24"/>
              <a:gd name="T9" fmla="*/ 64393 h 96"/>
              <a:gd name="T10" fmla="*/ 23813 w 24"/>
              <a:gd name="T11" fmla="*/ 93663 h 96"/>
              <a:gd name="T12" fmla="*/ 31750 w 24"/>
              <a:gd name="T13" fmla="*/ 93663 h 96"/>
              <a:gd name="T14" fmla="*/ 0 60000 65536"/>
              <a:gd name="T15" fmla="*/ 0 60000 65536"/>
              <a:gd name="T16" fmla="*/ 0 60000 65536"/>
              <a:gd name="T17" fmla="*/ 0 60000 65536"/>
              <a:gd name="T18" fmla="*/ 0 60000 65536"/>
              <a:gd name="T19" fmla="*/ 0 60000 65536"/>
              <a:gd name="T20" fmla="*/ 0 60000 65536"/>
              <a:gd name="T21" fmla="*/ 0 w 24"/>
              <a:gd name="T22" fmla="*/ 0 h 96"/>
              <a:gd name="T23" fmla="*/ 24 w 24"/>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96">
                <a:moveTo>
                  <a:pt x="12" y="0"/>
                </a:moveTo>
                <a:lnTo>
                  <a:pt x="12" y="0"/>
                </a:lnTo>
                <a:lnTo>
                  <a:pt x="24" y="42"/>
                </a:lnTo>
                <a:lnTo>
                  <a:pt x="0" y="48"/>
                </a:lnTo>
                <a:lnTo>
                  <a:pt x="0" y="66"/>
                </a:lnTo>
                <a:lnTo>
                  <a:pt x="18" y="96"/>
                </a:lnTo>
                <a:lnTo>
                  <a:pt x="24" y="96"/>
                </a:lnTo>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40" name="Freeform 1410"/>
          <p:cNvSpPr>
            <a:spLocks/>
          </p:cNvSpPr>
          <p:nvPr/>
        </p:nvSpPr>
        <p:spPr bwMode="auto">
          <a:xfrm>
            <a:off x="4779392" y="3837137"/>
            <a:ext cx="258762" cy="304800"/>
          </a:xfrm>
          <a:custGeom>
            <a:avLst/>
            <a:gdLst>
              <a:gd name="T0" fmla="*/ 47048 w 198"/>
              <a:gd name="T1" fmla="*/ 304800 h 313"/>
              <a:gd name="T2" fmla="*/ 78413 w 198"/>
              <a:gd name="T3" fmla="*/ 298957 h 313"/>
              <a:gd name="T4" fmla="*/ 125460 w 198"/>
              <a:gd name="T5" fmla="*/ 287272 h 313"/>
              <a:gd name="T6" fmla="*/ 133302 w 198"/>
              <a:gd name="T7" fmla="*/ 275586 h 313"/>
              <a:gd name="T8" fmla="*/ 172508 w 198"/>
              <a:gd name="T9" fmla="*/ 269743 h 313"/>
              <a:gd name="T10" fmla="*/ 235238 w 198"/>
              <a:gd name="T11" fmla="*/ 240529 h 313"/>
              <a:gd name="T12" fmla="*/ 235238 w 198"/>
              <a:gd name="T13" fmla="*/ 240529 h 313"/>
              <a:gd name="T14" fmla="*/ 211714 w 198"/>
              <a:gd name="T15" fmla="*/ 205472 h 313"/>
              <a:gd name="T16" fmla="*/ 219556 w 198"/>
              <a:gd name="T17" fmla="*/ 187944 h 313"/>
              <a:gd name="T18" fmla="*/ 227397 w 198"/>
              <a:gd name="T19" fmla="*/ 157756 h 313"/>
              <a:gd name="T20" fmla="*/ 250921 w 198"/>
              <a:gd name="T21" fmla="*/ 146070 h 313"/>
              <a:gd name="T22" fmla="*/ 258762 w 198"/>
              <a:gd name="T23" fmla="*/ 75957 h 313"/>
              <a:gd name="T24" fmla="*/ 70571 w 198"/>
              <a:gd name="T25" fmla="*/ 0 h 313"/>
              <a:gd name="T26" fmla="*/ 39206 w 198"/>
              <a:gd name="T27" fmla="*/ 11686 h 313"/>
              <a:gd name="T28" fmla="*/ 39206 w 198"/>
              <a:gd name="T29" fmla="*/ 17528 h 313"/>
              <a:gd name="T30" fmla="*/ 47048 w 198"/>
              <a:gd name="T31" fmla="*/ 46742 h 313"/>
              <a:gd name="T32" fmla="*/ 62730 w 198"/>
              <a:gd name="T33" fmla="*/ 58428 h 313"/>
              <a:gd name="T34" fmla="*/ 47048 w 198"/>
              <a:gd name="T35" fmla="*/ 128542 h 313"/>
              <a:gd name="T36" fmla="*/ 7841 w 198"/>
              <a:gd name="T37" fmla="*/ 163599 h 313"/>
              <a:gd name="T38" fmla="*/ 15683 w 198"/>
              <a:gd name="T39" fmla="*/ 163599 h 313"/>
              <a:gd name="T40" fmla="*/ 7841 w 198"/>
              <a:gd name="T41" fmla="*/ 163599 h 313"/>
              <a:gd name="T42" fmla="*/ 0 w 198"/>
              <a:gd name="T43" fmla="*/ 170415 h 313"/>
              <a:gd name="T44" fmla="*/ 15683 w 198"/>
              <a:gd name="T45" fmla="*/ 187944 h 313"/>
              <a:gd name="T46" fmla="*/ 39206 w 198"/>
              <a:gd name="T47" fmla="*/ 193787 h 313"/>
              <a:gd name="T48" fmla="*/ 31365 w 198"/>
              <a:gd name="T49" fmla="*/ 211315 h 313"/>
              <a:gd name="T50" fmla="*/ 47048 w 198"/>
              <a:gd name="T51" fmla="*/ 304800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8"/>
              <a:gd name="T79" fmla="*/ 0 h 313"/>
              <a:gd name="T80" fmla="*/ 198 w 198"/>
              <a:gd name="T81" fmla="*/ 313 h 31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41" name="Freeform 1411"/>
          <p:cNvSpPr>
            <a:spLocks/>
          </p:cNvSpPr>
          <p:nvPr/>
        </p:nvSpPr>
        <p:spPr bwMode="auto">
          <a:xfrm>
            <a:off x="4779392" y="3837137"/>
            <a:ext cx="258762" cy="304800"/>
          </a:xfrm>
          <a:custGeom>
            <a:avLst/>
            <a:gdLst>
              <a:gd name="T0" fmla="*/ 47048 w 198"/>
              <a:gd name="T1" fmla="*/ 304800 h 313"/>
              <a:gd name="T2" fmla="*/ 78413 w 198"/>
              <a:gd name="T3" fmla="*/ 298957 h 313"/>
              <a:gd name="T4" fmla="*/ 125460 w 198"/>
              <a:gd name="T5" fmla="*/ 287272 h 313"/>
              <a:gd name="T6" fmla="*/ 133302 w 198"/>
              <a:gd name="T7" fmla="*/ 275586 h 313"/>
              <a:gd name="T8" fmla="*/ 172508 w 198"/>
              <a:gd name="T9" fmla="*/ 269743 h 313"/>
              <a:gd name="T10" fmla="*/ 235238 w 198"/>
              <a:gd name="T11" fmla="*/ 240529 h 313"/>
              <a:gd name="T12" fmla="*/ 235238 w 198"/>
              <a:gd name="T13" fmla="*/ 240529 h 313"/>
              <a:gd name="T14" fmla="*/ 211714 w 198"/>
              <a:gd name="T15" fmla="*/ 205472 h 313"/>
              <a:gd name="T16" fmla="*/ 219556 w 198"/>
              <a:gd name="T17" fmla="*/ 187944 h 313"/>
              <a:gd name="T18" fmla="*/ 227397 w 198"/>
              <a:gd name="T19" fmla="*/ 157756 h 313"/>
              <a:gd name="T20" fmla="*/ 250921 w 198"/>
              <a:gd name="T21" fmla="*/ 146070 h 313"/>
              <a:gd name="T22" fmla="*/ 258762 w 198"/>
              <a:gd name="T23" fmla="*/ 75957 h 313"/>
              <a:gd name="T24" fmla="*/ 70571 w 198"/>
              <a:gd name="T25" fmla="*/ 0 h 313"/>
              <a:gd name="T26" fmla="*/ 39206 w 198"/>
              <a:gd name="T27" fmla="*/ 11686 h 313"/>
              <a:gd name="T28" fmla="*/ 39206 w 198"/>
              <a:gd name="T29" fmla="*/ 17528 h 313"/>
              <a:gd name="T30" fmla="*/ 47048 w 198"/>
              <a:gd name="T31" fmla="*/ 46742 h 313"/>
              <a:gd name="T32" fmla="*/ 62730 w 198"/>
              <a:gd name="T33" fmla="*/ 58428 h 313"/>
              <a:gd name="T34" fmla="*/ 47048 w 198"/>
              <a:gd name="T35" fmla="*/ 128542 h 313"/>
              <a:gd name="T36" fmla="*/ 7841 w 198"/>
              <a:gd name="T37" fmla="*/ 163599 h 313"/>
              <a:gd name="T38" fmla="*/ 15683 w 198"/>
              <a:gd name="T39" fmla="*/ 163599 h 313"/>
              <a:gd name="T40" fmla="*/ 7841 w 198"/>
              <a:gd name="T41" fmla="*/ 163599 h 313"/>
              <a:gd name="T42" fmla="*/ 0 w 198"/>
              <a:gd name="T43" fmla="*/ 170415 h 313"/>
              <a:gd name="T44" fmla="*/ 15683 w 198"/>
              <a:gd name="T45" fmla="*/ 187944 h 313"/>
              <a:gd name="T46" fmla="*/ 39206 w 198"/>
              <a:gd name="T47" fmla="*/ 193787 h 313"/>
              <a:gd name="T48" fmla="*/ 31365 w 198"/>
              <a:gd name="T49" fmla="*/ 211315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8"/>
              <a:gd name="T76" fmla="*/ 0 h 313"/>
              <a:gd name="T77" fmla="*/ 198 w 198"/>
              <a:gd name="T78" fmla="*/ 313 h 31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42" name="Freeform 1412"/>
          <p:cNvSpPr>
            <a:spLocks/>
          </p:cNvSpPr>
          <p:nvPr/>
        </p:nvSpPr>
        <p:spPr bwMode="auto">
          <a:xfrm>
            <a:off x="4858767" y="4697562"/>
            <a:ext cx="398462" cy="265112"/>
          </a:xfrm>
          <a:custGeom>
            <a:avLst/>
            <a:gdLst>
              <a:gd name="T0" fmla="*/ 375023 w 51"/>
              <a:gd name="T1" fmla="*/ 5891 h 45"/>
              <a:gd name="T2" fmla="*/ 367210 w 51"/>
              <a:gd name="T3" fmla="*/ 5891 h 45"/>
              <a:gd name="T4" fmla="*/ 359397 w 51"/>
              <a:gd name="T5" fmla="*/ 11783 h 45"/>
              <a:gd name="T6" fmla="*/ 367210 w 51"/>
              <a:gd name="T7" fmla="*/ 5891 h 45"/>
              <a:gd name="T8" fmla="*/ 320332 w 51"/>
              <a:gd name="T9" fmla="*/ 0 h 45"/>
              <a:gd name="T10" fmla="*/ 265641 w 51"/>
              <a:gd name="T11" fmla="*/ 29457 h 45"/>
              <a:gd name="T12" fmla="*/ 203137 w 51"/>
              <a:gd name="T13" fmla="*/ 70697 h 45"/>
              <a:gd name="T14" fmla="*/ 171886 w 51"/>
              <a:gd name="T15" fmla="*/ 70697 h 45"/>
              <a:gd name="T16" fmla="*/ 132821 w 51"/>
              <a:gd name="T17" fmla="*/ 88371 h 45"/>
              <a:gd name="T18" fmla="*/ 109382 w 51"/>
              <a:gd name="T19" fmla="*/ 88371 h 45"/>
              <a:gd name="T20" fmla="*/ 101569 w 51"/>
              <a:gd name="T21" fmla="*/ 76588 h 45"/>
              <a:gd name="T22" fmla="*/ 85943 w 51"/>
              <a:gd name="T23" fmla="*/ 53022 h 45"/>
              <a:gd name="T24" fmla="*/ 85943 w 51"/>
              <a:gd name="T25" fmla="*/ 64805 h 45"/>
              <a:gd name="T26" fmla="*/ 85943 w 51"/>
              <a:gd name="T27" fmla="*/ 53022 h 45"/>
              <a:gd name="T28" fmla="*/ 70317 w 51"/>
              <a:gd name="T29" fmla="*/ 135502 h 45"/>
              <a:gd name="T30" fmla="*/ 46878 w 51"/>
              <a:gd name="T31" fmla="*/ 141393 h 45"/>
              <a:gd name="T32" fmla="*/ 7813 w 51"/>
              <a:gd name="T33" fmla="*/ 129610 h 45"/>
              <a:gd name="T34" fmla="*/ 0 w 51"/>
              <a:gd name="T35" fmla="*/ 141393 h 45"/>
              <a:gd name="T36" fmla="*/ 15626 w 51"/>
              <a:gd name="T37" fmla="*/ 159067 h 45"/>
              <a:gd name="T38" fmla="*/ 39065 w 51"/>
              <a:gd name="T39" fmla="*/ 206198 h 45"/>
              <a:gd name="T40" fmla="*/ 39065 w 51"/>
              <a:gd name="T41" fmla="*/ 229764 h 45"/>
              <a:gd name="T42" fmla="*/ 70317 w 51"/>
              <a:gd name="T43" fmla="*/ 265112 h 45"/>
              <a:gd name="T44" fmla="*/ 132821 w 51"/>
              <a:gd name="T45" fmla="*/ 253329 h 45"/>
              <a:gd name="T46" fmla="*/ 195325 w 51"/>
              <a:gd name="T47" fmla="*/ 247438 h 45"/>
              <a:gd name="T48" fmla="*/ 250015 w 51"/>
              <a:gd name="T49" fmla="*/ 241546 h 45"/>
              <a:gd name="T50" fmla="*/ 367210 w 51"/>
              <a:gd name="T51" fmla="*/ 147284 h 45"/>
              <a:gd name="T52" fmla="*/ 398462 w 51"/>
              <a:gd name="T53" fmla="*/ 94262 h 45"/>
              <a:gd name="T54" fmla="*/ 398462 w 51"/>
              <a:gd name="T55" fmla="*/ 94262 h 45"/>
              <a:gd name="T56" fmla="*/ 382836 w 51"/>
              <a:gd name="T57" fmla="*/ 94262 h 45"/>
              <a:gd name="T58" fmla="*/ 375023 w 51"/>
              <a:gd name="T59" fmla="*/ 5891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
              <a:gd name="T91" fmla="*/ 0 h 45"/>
              <a:gd name="T92" fmla="*/ 51 w 51"/>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43" name="Freeform 1413"/>
          <p:cNvSpPr>
            <a:spLocks/>
          </p:cNvSpPr>
          <p:nvPr/>
        </p:nvSpPr>
        <p:spPr bwMode="auto">
          <a:xfrm>
            <a:off x="4944492" y="4610249"/>
            <a:ext cx="236537" cy="176213"/>
          </a:xfrm>
          <a:custGeom>
            <a:avLst/>
            <a:gdLst>
              <a:gd name="T0" fmla="*/ 189230 w 180"/>
              <a:gd name="T1" fmla="*/ 52864 h 180"/>
              <a:gd name="T2" fmla="*/ 173460 w 180"/>
              <a:gd name="T3" fmla="*/ 52864 h 180"/>
              <a:gd name="T4" fmla="*/ 149807 w 180"/>
              <a:gd name="T5" fmla="*/ 29369 h 180"/>
              <a:gd name="T6" fmla="*/ 134038 w 180"/>
              <a:gd name="T7" fmla="*/ 5874 h 180"/>
              <a:gd name="T8" fmla="*/ 126153 w 180"/>
              <a:gd name="T9" fmla="*/ 5874 h 180"/>
              <a:gd name="T10" fmla="*/ 110384 w 180"/>
              <a:gd name="T11" fmla="*/ 11748 h 180"/>
              <a:gd name="T12" fmla="*/ 126153 w 180"/>
              <a:gd name="T13" fmla="*/ 5874 h 180"/>
              <a:gd name="T14" fmla="*/ 110384 w 180"/>
              <a:gd name="T15" fmla="*/ 0 h 180"/>
              <a:gd name="T16" fmla="*/ 86730 w 180"/>
              <a:gd name="T17" fmla="*/ 5874 h 180"/>
              <a:gd name="T18" fmla="*/ 23654 w 180"/>
              <a:gd name="T19" fmla="*/ 17621 h 180"/>
              <a:gd name="T20" fmla="*/ 15769 w 180"/>
              <a:gd name="T21" fmla="*/ 82233 h 180"/>
              <a:gd name="T22" fmla="*/ 0 w 180"/>
              <a:gd name="T23" fmla="*/ 88107 h 180"/>
              <a:gd name="T24" fmla="*/ 0 w 180"/>
              <a:gd name="T25" fmla="*/ 140970 h 180"/>
              <a:gd name="T26" fmla="*/ 15769 w 180"/>
              <a:gd name="T27" fmla="*/ 164465 h 180"/>
              <a:gd name="T28" fmla="*/ 23654 w 180"/>
              <a:gd name="T29" fmla="*/ 176213 h 180"/>
              <a:gd name="T30" fmla="*/ 47307 w 180"/>
              <a:gd name="T31" fmla="*/ 176213 h 180"/>
              <a:gd name="T32" fmla="*/ 86730 w 180"/>
              <a:gd name="T33" fmla="*/ 158592 h 180"/>
              <a:gd name="T34" fmla="*/ 118269 w 180"/>
              <a:gd name="T35" fmla="*/ 158592 h 180"/>
              <a:gd name="T36" fmla="*/ 181345 w 180"/>
              <a:gd name="T37" fmla="*/ 117475 h 180"/>
              <a:gd name="T38" fmla="*/ 236537 w 180"/>
              <a:gd name="T39" fmla="*/ 88107 h 180"/>
              <a:gd name="T40" fmla="*/ 197114 w 180"/>
              <a:gd name="T41" fmla="*/ 76359 h 180"/>
              <a:gd name="T42" fmla="*/ 189230 w 180"/>
              <a:gd name="T43" fmla="*/ 52864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0"/>
              <a:gd name="T67" fmla="*/ 0 h 180"/>
              <a:gd name="T68" fmla="*/ 180 w 180"/>
              <a:gd name="T69" fmla="*/ 180 h 18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44" name="Freeform 1414"/>
          <p:cNvSpPr>
            <a:spLocks/>
          </p:cNvSpPr>
          <p:nvPr/>
        </p:nvSpPr>
        <p:spPr bwMode="auto">
          <a:xfrm>
            <a:off x="5187379" y="4475312"/>
            <a:ext cx="268288" cy="315912"/>
          </a:xfrm>
          <a:custGeom>
            <a:avLst/>
            <a:gdLst>
              <a:gd name="T0" fmla="*/ 173598 w 34"/>
              <a:gd name="T1" fmla="*/ 11700 h 54"/>
              <a:gd name="T2" fmla="*/ 134144 w 34"/>
              <a:gd name="T3" fmla="*/ 17551 h 54"/>
              <a:gd name="T4" fmla="*/ 134144 w 34"/>
              <a:gd name="T5" fmla="*/ 23401 h 54"/>
              <a:gd name="T6" fmla="*/ 134144 w 34"/>
              <a:gd name="T7" fmla="*/ 17551 h 54"/>
              <a:gd name="T8" fmla="*/ 126253 w 34"/>
              <a:gd name="T9" fmla="*/ 17551 h 54"/>
              <a:gd name="T10" fmla="*/ 126253 w 34"/>
              <a:gd name="T11" fmla="*/ 46802 h 54"/>
              <a:gd name="T12" fmla="*/ 149926 w 34"/>
              <a:gd name="T13" fmla="*/ 76053 h 54"/>
              <a:gd name="T14" fmla="*/ 149926 w 34"/>
              <a:gd name="T15" fmla="*/ 93604 h 54"/>
              <a:gd name="T16" fmla="*/ 126253 w 34"/>
              <a:gd name="T17" fmla="*/ 105304 h 54"/>
              <a:gd name="T18" fmla="*/ 118362 w 34"/>
              <a:gd name="T19" fmla="*/ 93604 h 54"/>
              <a:gd name="T20" fmla="*/ 102581 w 34"/>
              <a:gd name="T21" fmla="*/ 76053 h 54"/>
              <a:gd name="T22" fmla="*/ 71017 w 34"/>
              <a:gd name="T23" fmla="*/ 64352 h 54"/>
              <a:gd name="T24" fmla="*/ 0 w 34"/>
              <a:gd name="T25" fmla="*/ 87753 h 54"/>
              <a:gd name="T26" fmla="*/ 0 w 34"/>
              <a:gd name="T27" fmla="*/ 93604 h 54"/>
              <a:gd name="T28" fmla="*/ 7891 w 34"/>
              <a:gd name="T29" fmla="*/ 93604 h 54"/>
              <a:gd name="T30" fmla="*/ 15782 w 34"/>
              <a:gd name="T31" fmla="*/ 87753 h 54"/>
              <a:gd name="T32" fmla="*/ 7891 w 34"/>
              <a:gd name="T33" fmla="*/ 93604 h 54"/>
              <a:gd name="T34" fmla="*/ 71017 w 34"/>
              <a:gd name="T35" fmla="*/ 111154 h 54"/>
              <a:gd name="T36" fmla="*/ 71017 w 34"/>
              <a:gd name="T37" fmla="*/ 134555 h 54"/>
              <a:gd name="T38" fmla="*/ 71017 w 34"/>
              <a:gd name="T39" fmla="*/ 163806 h 54"/>
              <a:gd name="T40" fmla="*/ 55236 w 34"/>
              <a:gd name="T41" fmla="*/ 210608 h 54"/>
              <a:gd name="T42" fmla="*/ 39454 w 34"/>
              <a:gd name="T43" fmla="*/ 228159 h 54"/>
              <a:gd name="T44" fmla="*/ 47345 w 34"/>
              <a:gd name="T45" fmla="*/ 228159 h 54"/>
              <a:gd name="T46" fmla="*/ 55236 w 34"/>
              <a:gd name="T47" fmla="*/ 315912 h 54"/>
              <a:gd name="T48" fmla="*/ 71017 w 34"/>
              <a:gd name="T49" fmla="*/ 315912 h 54"/>
              <a:gd name="T50" fmla="*/ 71017 w 34"/>
              <a:gd name="T51" fmla="*/ 298361 h 54"/>
              <a:gd name="T52" fmla="*/ 126253 w 34"/>
              <a:gd name="T53" fmla="*/ 263260 h 54"/>
              <a:gd name="T54" fmla="*/ 142035 w 34"/>
              <a:gd name="T55" fmla="*/ 234009 h 54"/>
              <a:gd name="T56" fmla="*/ 126253 w 34"/>
              <a:gd name="T57" fmla="*/ 181357 h 54"/>
              <a:gd name="T58" fmla="*/ 165707 w 34"/>
              <a:gd name="T59" fmla="*/ 146256 h 54"/>
              <a:gd name="T60" fmla="*/ 236725 w 34"/>
              <a:gd name="T61" fmla="*/ 117004 h 54"/>
              <a:gd name="T62" fmla="*/ 260397 w 34"/>
              <a:gd name="T63" fmla="*/ 93604 h 54"/>
              <a:gd name="T64" fmla="*/ 268288 w 34"/>
              <a:gd name="T65" fmla="*/ 64352 h 54"/>
              <a:gd name="T66" fmla="*/ 260397 w 34"/>
              <a:gd name="T67" fmla="*/ 23401 h 54"/>
              <a:gd name="T68" fmla="*/ 260397 w 34"/>
              <a:gd name="T69" fmla="*/ 0 h 54"/>
              <a:gd name="T70" fmla="*/ 260397 w 34"/>
              <a:gd name="T71" fmla="*/ 0 h 54"/>
              <a:gd name="T72" fmla="*/ 236725 w 34"/>
              <a:gd name="T73" fmla="*/ 5850 h 54"/>
              <a:gd name="T74" fmla="*/ 173598 w 34"/>
              <a:gd name="T75" fmla="*/ 11700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
              <a:gd name="T115" fmla="*/ 0 h 54"/>
              <a:gd name="T116" fmla="*/ 34 w 34"/>
              <a:gd name="T117" fmla="*/ 54 h 5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45" name="Freeform 1415"/>
          <p:cNvSpPr>
            <a:spLocks/>
          </p:cNvSpPr>
          <p:nvPr/>
        </p:nvSpPr>
        <p:spPr bwMode="auto">
          <a:xfrm>
            <a:off x="5187379" y="4294337"/>
            <a:ext cx="260350" cy="198437"/>
          </a:xfrm>
          <a:custGeom>
            <a:avLst/>
            <a:gdLst>
              <a:gd name="T0" fmla="*/ 197235 w 33"/>
              <a:gd name="T1" fmla="*/ 35018 h 34"/>
              <a:gd name="T2" fmla="*/ 110451 w 33"/>
              <a:gd name="T3" fmla="*/ 5836 h 34"/>
              <a:gd name="T4" fmla="*/ 110451 w 33"/>
              <a:gd name="T5" fmla="*/ 5836 h 34"/>
              <a:gd name="T6" fmla="*/ 110451 w 33"/>
              <a:gd name="T7" fmla="*/ 5836 h 34"/>
              <a:gd name="T8" fmla="*/ 102562 w 33"/>
              <a:gd name="T9" fmla="*/ 0 h 34"/>
              <a:gd name="T10" fmla="*/ 94673 w 33"/>
              <a:gd name="T11" fmla="*/ 11673 h 34"/>
              <a:gd name="T12" fmla="*/ 94673 w 33"/>
              <a:gd name="T13" fmla="*/ 29182 h 34"/>
              <a:gd name="T14" fmla="*/ 63115 w 33"/>
              <a:gd name="T15" fmla="*/ 29182 h 34"/>
              <a:gd name="T16" fmla="*/ 47336 w 33"/>
              <a:gd name="T17" fmla="*/ 5836 h 34"/>
              <a:gd name="T18" fmla="*/ 7889 w 33"/>
              <a:gd name="T19" fmla="*/ 5836 h 34"/>
              <a:gd name="T20" fmla="*/ 15779 w 33"/>
              <a:gd name="T21" fmla="*/ 46691 h 34"/>
              <a:gd name="T22" fmla="*/ 0 w 33"/>
              <a:gd name="T23" fmla="*/ 64200 h 34"/>
              <a:gd name="T24" fmla="*/ 15779 w 33"/>
              <a:gd name="T25" fmla="*/ 110891 h 34"/>
              <a:gd name="T26" fmla="*/ 31558 w 33"/>
              <a:gd name="T27" fmla="*/ 140073 h 34"/>
              <a:gd name="T28" fmla="*/ 71005 w 33"/>
              <a:gd name="T29" fmla="*/ 151746 h 34"/>
              <a:gd name="T30" fmla="*/ 110451 w 33"/>
              <a:gd name="T31" fmla="*/ 157582 h 34"/>
              <a:gd name="T32" fmla="*/ 118341 w 33"/>
              <a:gd name="T33" fmla="*/ 169255 h 34"/>
              <a:gd name="T34" fmla="*/ 134120 w 33"/>
              <a:gd name="T35" fmla="*/ 198437 h 34"/>
              <a:gd name="T36" fmla="*/ 173567 w 33"/>
              <a:gd name="T37" fmla="*/ 192601 h 34"/>
              <a:gd name="T38" fmla="*/ 236682 w 33"/>
              <a:gd name="T39" fmla="*/ 186764 h 34"/>
              <a:gd name="T40" fmla="*/ 260350 w 33"/>
              <a:gd name="T41" fmla="*/ 180928 h 34"/>
              <a:gd name="T42" fmla="*/ 244571 w 33"/>
              <a:gd name="T43" fmla="*/ 163419 h 34"/>
              <a:gd name="T44" fmla="*/ 236682 w 33"/>
              <a:gd name="T45" fmla="*/ 110891 h 34"/>
              <a:gd name="T46" fmla="*/ 220903 w 33"/>
              <a:gd name="T47" fmla="*/ 81709 h 34"/>
              <a:gd name="T48" fmla="*/ 236682 w 33"/>
              <a:gd name="T49" fmla="*/ 70037 h 34"/>
              <a:gd name="T50" fmla="*/ 197235 w 33"/>
              <a:gd name="T51" fmla="*/ 52527 h 34"/>
              <a:gd name="T52" fmla="*/ 197235 w 33"/>
              <a:gd name="T53" fmla="*/ 35018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
              <a:gd name="T82" fmla="*/ 0 h 34"/>
              <a:gd name="T83" fmla="*/ 33 w 33"/>
              <a:gd name="T84" fmla="*/ 34 h 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46" name="Freeform 1416"/>
          <p:cNvSpPr>
            <a:spLocks/>
          </p:cNvSpPr>
          <p:nvPr/>
        </p:nvSpPr>
        <p:spPr bwMode="auto">
          <a:xfrm>
            <a:off x="4747642" y="4386412"/>
            <a:ext cx="298450" cy="223837"/>
          </a:xfrm>
          <a:custGeom>
            <a:avLst/>
            <a:gdLst>
              <a:gd name="T0" fmla="*/ 31416 w 38"/>
              <a:gd name="T1" fmla="*/ 217947 h 38"/>
              <a:gd name="T2" fmla="*/ 141371 w 38"/>
              <a:gd name="T3" fmla="*/ 217947 h 38"/>
              <a:gd name="T4" fmla="*/ 157079 w 38"/>
              <a:gd name="T5" fmla="*/ 223837 h 38"/>
              <a:gd name="T6" fmla="*/ 219910 w 38"/>
              <a:gd name="T7" fmla="*/ 223837 h 38"/>
              <a:gd name="T8" fmla="*/ 267034 w 38"/>
              <a:gd name="T9" fmla="*/ 217947 h 38"/>
              <a:gd name="T10" fmla="*/ 251326 w 38"/>
              <a:gd name="T11" fmla="*/ 194385 h 38"/>
              <a:gd name="T12" fmla="*/ 251326 w 38"/>
              <a:gd name="T13" fmla="*/ 129590 h 38"/>
              <a:gd name="T14" fmla="*/ 298450 w 38"/>
              <a:gd name="T15" fmla="*/ 123699 h 38"/>
              <a:gd name="T16" fmla="*/ 298450 w 38"/>
              <a:gd name="T17" fmla="*/ 100138 h 38"/>
              <a:gd name="T18" fmla="*/ 290596 w 38"/>
              <a:gd name="T19" fmla="*/ 100138 h 38"/>
              <a:gd name="T20" fmla="*/ 298450 w 38"/>
              <a:gd name="T21" fmla="*/ 100138 h 38"/>
              <a:gd name="T22" fmla="*/ 251326 w 38"/>
              <a:gd name="T23" fmla="*/ 94247 h 38"/>
              <a:gd name="T24" fmla="*/ 235618 w 38"/>
              <a:gd name="T25" fmla="*/ 23562 h 38"/>
              <a:gd name="T26" fmla="*/ 188495 w 38"/>
              <a:gd name="T27" fmla="*/ 23562 h 38"/>
              <a:gd name="T28" fmla="*/ 164933 w 38"/>
              <a:gd name="T29" fmla="*/ 35343 h 38"/>
              <a:gd name="T30" fmla="*/ 141371 w 38"/>
              <a:gd name="T31" fmla="*/ 35343 h 38"/>
              <a:gd name="T32" fmla="*/ 94247 w 38"/>
              <a:gd name="T33" fmla="*/ 0 h 38"/>
              <a:gd name="T34" fmla="*/ 31416 w 38"/>
              <a:gd name="T35" fmla="*/ 0 h 38"/>
              <a:gd name="T36" fmla="*/ 7854 w 38"/>
              <a:gd name="T37" fmla="*/ 11781 h 38"/>
              <a:gd name="T38" fmla="*/ 23562 w 38"/>
              <a:gd name="T39" fmla="*/ 88357 h 38"/>
              <a:gd name="T40" fmla="*/ 31416 w 38"/>
              <a:gd name="T41" fmla="*/ 123699 h 38"/>
              <a:gd name="T42" fmla="*/ 0 w 38"/>
              <a:gd name="T43" fmla="*/ 164933 h 38"/>
              <a:gd name="T44" fmla="*/ 0 w 38"/>
              <a:gd name="T45" fmla="*/ 212056 h 38"/>
              <a:gd name="T46" fmla="*/ 15708 w 38"/>
              <a:gd name="T47" fmla="*/ 206166 h 38"/>
              <a:gd name="T48" fmla="*/ 31416 w 38"/>
              <a:gd name="T49" fmla="*/ 217947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
              <a:gd name="T76" fmla="*/ 0 h 38"/>
              <a:gd name="T77" fmla="*/ 38 w 38"/>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47" name="Freeform 1417"/>
          <p:cNvSpPr>
            <a:spLocks/>
          </p:cNvSpPr>
          <p:nvPr/>
        </p:nvSpPr>
        <p:spPr bwMode="auto">
          <a:xfrm>
            <a:off x="4747642" y="4175274"/>
            <a:ext cx="463550" cy="346075"/>
          </a:xfrm>
          <a:custGeom>
            <a:avLst/>
            <a:gdLst>
              <a:gd name="T0" fmla="*/ 164992 w 59"/>
              <a:gd name="T1" fmla="*/ 35194 h 59"/>
              <a:gd name="T2" fmla="*/ 141422 w 59"/>
              <a:gd name="T3" fmla="*/ 105582 h 59"/>
              <a:gd name="T4" fmla="*/ 117852 w 59"/>
              <a:gd name="T5" fmla="*/ 123179 h 59"/>
              <a:gd name="T6" fmla="*/ 86425 w 59"/>
              <a:gd name="T7" fmla="*/ 170105 h 59"/>
              <a:gd name="T8" fmla="*/ 54997 w 59"/>
              <a:gd name="T9" fmla="*/ 187702 h 59"/>
              <a:gd name="T10" fmla="*/ 23570 w 59"/>
              <a:gd name="T11" fmla="*/ 187702 h 59"/>
              <a:gd name="T12" fmla="*/ 0 w 59"/>
              <a:gd name="T13" fmla="*/ 205299 h 59"/>
              <a:gd name="T14" fmla="*/ 7857 w 59"/>
              <a:gd name="T15" fmla="*/ 222896 h 59"/>
              <a:gd name="T16" fmla="*/ 7857 w 59"/>
              <a:gd name="T17" fmla="*/ 222896 h 59"/>
              <a:gd name="T18" fmla="*/ 31427 w 59"/>
              <a:gd name="T19" fmla="*/ 211164 h 59"/>
              <a:gd name="T20" fmla="*/ 94281 w 59"/>
              <a:gd name="T21" fmla="*/ 211164 h 59"/>
              <a:gd name="T22" fmla="*/ 141422 w 59"/>
              <a:gd name="T23" fmla="*/ 246359 h 59"/>
              <a:gd name="T24" fmla="*/ 164992 w 59"/>
              <a:gd name="T25" fmla="*/ 246359 h 59"/>
              <a:gd name="T26" fmla="*/ 188563 w 59"/>
              <a:gd name="T27" fmla="*/ 234627 h 59"/>
              <a:gd name="T28" fmla="*/ 235703 w 59"/>
              <a:gd name="T29" fmla="*/ 234627 h 59"/>
              <a:gd name="T30" fmla="*/ 251417 w 59"/>
              <a:gd name="T31" fmla="*/ 305015 h 59"/>
              <a:gd name="T32" fmla="*/ 298558 w 59"/>
              <a:gd name="T33" fmla="*/ 310881 h 59"/>
              <a:gd name="T34" fmla="*/ 337842 w 59"/>
              <a:gd name="T35" fmla="*/ 310881 h 59"/>
              <a:gd name="T36" fmla="*/ 384982 w 59"/>
              <a:gd name="T37" fmla="*/ 328478 h 59"/>
              <a:gd name="T38" fmla="*/ 432123 w 59"/>
              <a:gd name="T39" fmla="*/ 346075 h 59"/>
              <a:gd name="T40" fmla="*/ 432123 w 59"/>
              <a:gd name="T41" fmla="*/ 334344 h 59"/>
              <a:gd name="T42" fmla="*/ 408553 w 59"/>
              <a:gd name="T43" fmla="*/ 310881 h 59"/>
              <a:gd name="T44" fmla="*/ 416409 w 59"/>
              <a:gd name="T45" fmla="*/ 293284 h 59"/>
              <a:gd name="T46" fmla="*/ 424266 w 59"/>
              <a:gd name="T47" fmla="*/ 258090 h 59"/>
              <a:gd name="T48" fmla="*/ 447836 w 59"/>
              <a:gd name="T49" fmla="*/ 252224 h 59"/>
              <a:gd name="T50" fmla="*/ 432123 w 59"/>
              <a:gd name="T51" fmla="*/ 217030 h 59"/>
              <a:gd name="T52" fmla="*/ 424266 w 59"/>
              <a:gd name="T53" fmla="*/ 181836 h 59"/>
              <a:gd name="T54" fmla="*/ 416409 w 59"/>
              <a:gd name="T55" fmla="*/ 146642 h 59"/>
              <a:gd name="T56" fmla="*/ 432123 w 59"/>
              <a:gd name="T57" fmla="*/ 105582 h 59"/>
              <a:gd name="T58" fmla="*/ 463550 w 59"/>
              <a:gd name="T59" fmla="*/ 64522 h 59"/>
              <a:gd name="T60" fmla="*/ 463550 w 59"/>
              <a:gd name="T61" fmla="*/ 58657 h 59"/>
              <a:gd name="T62" fmla="*/ 463550 w 59"/>
              <a:gd name="T63" fmla="*/ 29328 h 59"/>
              <a:gd name="T64" fmla="*/ 439980 w 59"/>
              <a:gd name="T65" fmla="*/ 17597 h 59"/>
              <a:gd name="T66" fmla="*/ 400696 w 59"/>
              <a:gd name="T67" fmla="*/ 17597 h 59"/>
              <a:gd name="T68" fmla="*/ 384982 w 59"/>
              <a:gd name="T69" fmla="*/ 0 h 59"/>
              <a:gd name="T70" fmla="*/ 322128 w 59"/>
              <a:gd name="T71" fmla="*/ 5866 h 59"/>
              <a:gd name="T72" fmla="*/ 251417 w 59"/>
              <a:gd name="T73" fmla="*/ 17597 h 59"/>
              <a:gd name="T74" fmla="*/ 212133 w 59"/>
              <a:gd name="T75" fmla="*/ 5866 h 59"/>
              <a:gd name="T76" fmla="*/ 164992 w 59"/>
              <a:gd name="T77" fmla="*/ 11731 h 59"/>
              <a:gd name="T78" fmla="*/ 164992 w 59"/>
              <a:gd name="T79" fmla="*/ 35194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9"/>
              <a:gd name="T121" fmla="*/ 0 h 59"/>
              <a:gd name="T122" fmla="*/ 59 w 59"/>
              <a:gd name="T123" fmla="*/ 59 h 5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48" name="Freeform 1418"/>
          <p:cNvSpPr>
            <a:spLocks/>
          </p:cNvSpPr>
          <p:nvPr/>
        </p:nvSpPr>
        <p:spPr bwMode="auto">
          <a:xfrm>
            <a:off x="5265167" y="3941912"/>
            <a:ext cx="369887" cy="265112"/>
          </a:xfrm>
          <a:custGeom>
            <a:avLst/>
            <a:gdLst>
              <a:gd name="T0" fmla="*/ 173139 w 47"/>
              <a:gd name="T1" fmla="*/ 265112 h 45"/>
              <a:gd name="T2" fmla="*/ 188878 w 47"/>
              <a:gd name="T3" fmla="*/ 259221 h 45"/>
              <a:gd name="T4" fmla="*/ 212488 w 47"/>
              <a:gd name="T5" fmla="*/ 265112 h 45"/>
              <a:gd name="T6" fmla="*/ 228228 w 47"/>
              <a:gd name="T7" fmla="*/ 265112 h 45"/>
              <a:gd name="T8" fmla="*/ 251838 w 47"/>
              <a:gd name="T9" fmla="*/ 253329 h 45"/>
              <a:gd name="T10" fmla="*/ 306928 w 47"/>
              <a:gd name="T11" fmla="*/ 241546 h 45"/>
              <a:gd name="T12" fmla="*/ 369887 w 47"/>
              <a:gd name="T13" fmla="*/ 188524 h 45"/>
              <a:gd name="T14" fmla="*/ 314797 w 47"/>
              <a:gd name="T15" fmla="*/ 182633 h 45"/>
              <a:gd name="T16" fmla="*/ 259708 w 47"/>
              <a:gd name="T17" fmla="*/ 159067 h 45"/>
              <a:gd name="T18" fmla="*/ 243968 w 47"/>
              <a:gd name="T19" fmla="*/ 141393 h 45"/>
              <a:gd name="T20" fmla="*/ 267578 w 47"/>
              <a:gd name="T21" fmla="*/ 129610 h 45"/>
              <a:gd name="T22" fmla="*/ 259708 w 47"/>
              <a:gd name="T23" fmla="*/ 117828 h 45"/>
              <a:gd name="T24" fmla="*/ 196748 w 47"/>
              <a:gd name="T25" fmla="*/ 47131 h 45"/>
              <a:gd name="T26" fmla="*/ 157399 w 47"/>
              <a:gd name="T27" fmla="*/ 35348 h 45"/>
              <a:gd name="T28" fmla="*/ 133789 w 47"/>
              <a:gd name="T29" fmla="*/ 0 h 45"/>
              <a:gd name="T30" fmla="*/ 133789 w 47"/>
              <a:gd name="T31" fmla="*/ 0 h 45"/>
              <a:gd name="T32" fmla="*/ 118049 w 47"/>
              <a:gd name="T33" fmla="*/ 5891 h 45"/>
              <a:gd name="T34" fmla="*/ 94439 w 47"/>
              <a:gd name="T35" fmla="*/ 17674 h 45"/>
              <a:gd name="T36" fmla="*/ 86569 w 47"/>
              <a:gd name="T37" fmla="*/ 82479 h 45"/>
              <a:gd name="T38" fmla="*/ 62959 w 47"/>
              <a:gd name="T39" fmla="*/ 117828 h 45"/>
              <a:gd name="T40" fmla="*/ 31480 w 47"/>
              <a:gd name="T41" fmla="*/ 141393 h 45"/>
              <a:gd name="T42" fmla="*/ 23610 w 47"/>
              <a:gd name="T43" fmla="*/ 176741 h 45"/>
              <a:gd name="T44" fmla="*/ 7870 w 47"/>
              <a:gd name="T45" fmla="*/ 176741 h 45"/>
              <a:gd name="T46" fmla="*/ 0 w 47"/>
              <a:gd name="T47" fmla="*/ 194415 h 45"/>
              <a:gd name="T48" fmla="*/ 31480 w 47"/>
              <a:gd name="T49" fmla="*/ 212090 h 45"/>
              <a:gd name="T50" fmla="*/ 55090 w 47"/>
              <a:gd name="T51" fmla="*/ 229764 h 45"/>
              <a:gd name="T52" fmla="*/ 70829 w 47"/>
              <a:gd name="T53" fmla="*/ 241546 h 45"/>
              <a:gd name="T54" fmla="*/ 70829 w 47"/>
              <a:gd name="T55" fmla="*/ 247438 h 45"/>
              <a:gd name="T56" fmla="*/ 94439 w 47"/>
              <a:gd name="T57" fmla="*/ 253329 h 45"/>
              <a:gd name="T58" fmla="*/ 173139 w 47"/>
              <a:gd name="T59" fmla="*/ 265112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7"/>
              <a:gd name="T91" fmla="*/ 0 h 45"/>
              <a:gd name="T92" fmla="*/ 47 w 47"/>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49" name="Freeform 1419"/>
          <p:cNvSpPr>
            <a:spLocks/>
          </p:cNvSpPr>
          <p:nvPr/>
        </p:nvSpPr>
        <p:spPr bwMode="auto">
          <a:xfrm>
            <a:off x="5288979" y="4187974"/>
            <a:ext cx="204788" cy="176213"/>
          </a:xfrm>
          <a:custGeom>
            <a:avLst/>
            <a:gdLst>
              <a:gd name="T0" fmla="*/ 181159 w 26"/>
              <a:gd name="T1" fmla="*/ 41116 h 30"/>
              <a:gd name="T2" fmla="*/ 204788 w 26"/>
              <a:gd name="T3" fmla="*/ 23495 h 30"/>
              <a:gd name="T4" fmla="*/ 204788 w 26"/>
              <a:gd name="T5" fmla="*/ 17621 h 30"/>
              <a:gd name="T6" fmla="*/ 189035 w 26"/>
              <a:gd name="T7" fmla="*/ 17621 h 30"/>
              <a:gd name="T8" fmla="*/ 165406 w 26"/>
              <a:gd name="T9" fmla="*/ 11748 h 30"/>
              <a:gd name="T10" fmla="*/ 149653 w 26"/>
              <a:gd name="T11" fmla="*/ 17621 h 30"/>
              <a:gd name="T12" fmla="*/ 70888 w 26"/>
              <a:gd name="T13" fmla="*/ 5874 h 30"/>
              <a:gd name="T14" fmla="*/ 47259 w 26"/>
              <a:gd name="T15" fmla="*/ 0 h 30"/>
              <a:gd name="T16" fmla="*/ 47259 w 26"/>
              <a:gd name="T17" fmla="*/ 5874 h 30"/>
              <a:gd name="T18" fmla="*/ 23629 w 26"/>
              <a:gd name="T19" fmla="*/ 5874 h 30"/>
              <a:gd name="T20" fmla="*/ 0 w 26"/>
              <a:gd name="T21" fmla="*/ 17621 h 30"/>
              <a:gd name="T22" fmla="*/ 15753 w 26"/>
              <a:gd name="T23" fmla="*/ 29369 h 30"/>
              <a:gd name="T24" fmla="*/ 15753 w 26"/>
              <a:gd name="T25" fmla="*/ 52864 h 30"/>
              <a:gd name="T26" fmla="*/ 0 w 26"/>
              <a:gd name="T27" fmla="*/ 76359 h 30"/>
              <a:gd name="T28" fmla="*/ 7876 w 26"/>
              <a:gd name="T29" fmla="*/ 111602 h 30"/>
              <a:gd name="T30" fmla="*/ 94518 w 26"/>
              <a:gd name="T31" fmla="*/ 140970 h 30"/>
              <a:gd name="T32" fmla="*/ 94518 w 26"/>
              <a:gd name="T33" fmla="*/ 158592 h 30"/>
              <a:gd name="T34" fmla="*/ 133900 w 26"/>
              <a:gd name="T35" fmla="*/ 176213 h 30"/>
              <a:gd name="T36" fmla="*/ 141776 w 26"/>
              <a:gd name="T37" fmla="*/ 170339 h 30"/>
              <a:gd name="T38" fmla="*/ 173282 w 26"/>
              <a:gd name="T39" fmla="*/ 135097 h 30"/>
              <a:gd name="T40" fmla="*/ 196912 w 26"/>
              <a:gd name="T41" fmla="*/ 117475 h 30"/>
              <a:gd name="T42" fmla="*/ 181159 w 26"/>
              <a:gd name="T43" fmla="*/ 99854 h 30"/>
              <a:gd name="T44" fmla="*/ 181159 w 26"/>
              <a:gd name="T45" fmla="*/ 41116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
              <a:gd name="T70" fmla="*/ 0 h 30"/>
              <a:gd name="T71" fmla="*/ 26 w 26"/>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50" name="Freeform 1420"/>
          <p:cNvSpPr>
            <a:spLocks/>
          </p:cNvSpPr>
          <p:nvPr/>
        </p:nvSpPr>
        <p:spPr bwMode="auto">
          <a:xfrm>
            <a:off x="5068317" y="4568974"/>
            <a:ext cx="188912" cy="134938"/>
          </a:xfrm>
          <a:custGeom>
            <a:avLst/>
            <a:gdLst>
              <a:gd name="T0" fmla="*/ 70842 w 24"/>
              <a:gd name="T1" fmla="*/ 29334 h 23"/>
              <a:gd name="T2" fmla="*/ 47228 w 24"/>
              <a:gd name="T3" fmla="*/ 46935 h 23"/>
              <a:gd name="T4" fmla="*/ 15743 w 24"/>
              <a:gd name="T5" fmla="*/ 41068 h 23"/>
              <a:gd name="T6" fmla="*/ 0 w 24"/>
              <a:gd name="T7" fmla="*/ 46935 h 23"/>
              <a:gd name="T8" fmla="*/ 7871 w 24"/>
              <a:gd name="T9" fmla="*/ 46935 h 23"/>
              <a:gd name="T10" fmla="*/ 23614 w 24"/>
              <a:gd name="T11" fmla="*/ 70402 h 23"/>
              <a:gd name="T12" fmla="*/ 47228 w 24"/>
              <a:gd name="T13" fmla="*/ 93870 h 23"/>
              <a:gd name="T14" fmla="*/ 62971 w 24"/>
              <a:gd name="T15" fmla="*/ 93870 h 23"/>
              <a:gd name="T16" fmla="*/ 70842 w 24"/>
              <a:gd name="T17" fmla="*/ 117337 h 23"/>
              <a:gd name="T18" fmla="*/ 110199 w 24"/>
              <a:gd name="T19" fmla="*/ 129071 h 23"/>
              <a:gd name="T20" fmla="*/ 157427 w 24"/>
              <a:gd name="T21" fmla="*/ 134938 h 23"/>
              <a:gd name="T22" fmla="*/ 173169 w 24"/>
              <a:gd name="T23" fmla="*/ 117337 h 23"/>
              <a:gd name="T24" fmla="*/ 188912 w 24"/>
              <a:gd name="T25" fmla="*/ 70402 h 23"/>
              <a:gd name="T26" fmla="*/ 188912 w 24"/>
              <a:gd name="T27" fmla="*/ 41068 h 23"/>
              <a:gd name="T28" fmla="*/ 188912 w 24"/>
              <a:gd name="T29" fmla="*/ 17601 h 23"/>
              <a:gd name="T30" fmla="*/ 125941 w 24"/>
              <a:gd name="T31" fmla="*/ 0 h 23"/>
              <a:gd name="T32" fmla="*/ 102327 w 24"/>
              <a:gd name="T33" fmla="*/ 5867 h 23"/>
              <a:gd name="T34" fmla="*/ 70842 w 24"/>
              <a:gd name="T35" fmla="*/ 29334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
              <a:gd name="T55" fmla="*/ 0 h 23"/>
              <a:gd name="T56" fmla="*/ 24 w 24"/>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51" name="Freeform 1421"/>
          <p:cNvSpPr>
            <a:spLocks/>
          </p:cNvSpPr>
          <p:nvPr/>
        </p:nvSpPr>
        <p:spPr bwMode="auto">
          <a:xfrm>
            <a:off x="4998467" y="4207024"/>
            <a:ext cx="338137" cy="407988"/>
          </a:xfrm>
          <a:custGeom>
            <a:avLst/>
            <a:gdLst>
              <a:gd name="T0" fmla="*/ 212319 w 43"/>
              <a:gd name="T1" fmla="*/ 34970 h 70"/>
              <a:gd name="T2" fmla="*/ 180864 w 43"/>
              <a:gd name="T3" fmla="*/ 75769 h 70"/>
              <a:gd name="T4" fmla="*/ 165137 w 43"/>
              <a:gd name="T5" fmla="*/ 116568 h 70"/>
              <a:gd name="T6" fmla="*/ 173000 w 43"/>
              <a:gd name="T7" fmla="*/ 151538 h 70"/>
              <a:gd name="T8" fmla="*/ 180864 w 43"/>
              <a:gd name="T9" fmla="*/ 186509 h 70"/>
              <a:gd name="T10" fmla="*/ 196591 w 43"/>
              <a:gd name="T11" fmla="*/ 221479 h 70"/>
              <a:gd name="T12" fmla="*/ 173000 w 43"/>
              <a:gd name="T13" fmla="*/ 227308 h 70"/>
              <a:gd name="T14" fmla="*/ 165137 w 43"/>
              <a:gd name="T15" fmla="*/ 262278 h 70"/>
              <a:gd name="T16" fmla="*/ 157273 w 43"/>
              <a:gd name="T17" fmla="*/ 279763 h 70"/>
              <a:gd name="T18" fmla="*/ 180864 w 43"/>
              <a:gd name="T19" fmla="*/ 303077 h 70"/>
              <a:gd name="T20" fmla="*/ 180864 w 43"/>
              <a:gd name="T21" fmla="*/ 314734 h 70"/>
              <a:gd name="T22" fmla="*/ 133682 w 43"/>
              <a:gd name="T23" fmla="*/ 297248 h 70"/>
              <a:gd name="T24" fmla="*/ 86500 w 43"/>
              <a:gd name="T25" fmla="*/ 279763 h 70"/>
              <a:gd name="T26" fmla="*/ 47182 w 43"/>
              <a:gd name="T27" fmla="*/ 279763 h 70"/>
              <a:gd name="T28" fmla="*/ 47182 w 43"/>
              <a:gd name="T29" fmla="*/ 303077 h 70"/>
              <a:gd name="T30" fmla="*/ 0 w 43"/>
              <a:gd name="T31" fmla="*/ 308905 h 70"/>
              <a:gd name="T32" fmla="*/ 0 w 43"/>
              <a:gd name="T33" fmla="*/ 373018 h 70"/>
              <a:gd name="T34" fmla="*/ 15727 w 43"/>
              <a:gd name="T35" fmla="*/ 396331 h 70"/>
              <a:gd name="T36" fmla="*/ 47182 w 43"/>
              <a:gd name="T37" fmla="*/ 396331 h 70"/>
              <a:gd name="T38" fmla="*/ 62909 w 43"/>
              <a:gd name="T39" fmla="*/ 402160 h 70"/>
              <a:gd name="T40" fmla="*/ 55046 w 43"/>
              <a:gd name="T41" fmla="*/ 402160 h 70"/>
              <a:gd name="T42" fmla="*/ 70773 w 43"/>
              <a:gd name="T43" fmla="*/ 407988 h 70"/>
              <a:gd name="T44" fmla="*/ 86500 w 43"/>
              <a:gd name="T45" fmla="*/ 402160 h 70"/>
              <a:gd name="T46" fmla="*/ 117955 w 43"/>
              <a:gd name="T47" fmla="*/ 407988 h 70"/>
              <a:gd name="T48" fmla="*/ 141546 w 43"/>
              <a:gd name="T49" fmla="*/ 390503 h 70"/>
              <a:gd name="T50" fmla="*/ 173000 w 43"/>
              <a:gd name="T51" fmla="*/ 367189 h 70"/>
              <a:gd name="T52" fmla="*/ 196591 w 43"/>
              <a:gd name="T53" fmla="*/ 361361 h 70"/>
              <a:gd name="T54" fmla="*/ 188728 w 43"/>
              <a:gd name="T55" fmla="*/ 361361 h 70"/>
              <a:gd name="T56" fmla="*/ 188728 w 43"/>
              <a:gd name="T57" fmla="*/ 355532 h 70"/>
              <a:gd name="T58" fmla="*/ 259501 w 43"/>
              <a:gd name="T59" fmla="*/ 332219 h 70"/>
              <a:gd name="T60" fmla="*/ 290955 w 43"/>
              <a:gd name="T61" fmla="*/ 343876 h 70"/>
              <a:gd name="T62" fmla="*/ 306682 w 43"/>
              <a:gd name="T63" fmla="*/ 361361 h 70"/>
              <a:gd name="T64" fmla="*/ 314546 w 43"/>
              <a:gd name="T65" fmla="*/ 373018 h 70"/>
              <a:gd name="T66" fmla="*/ 338137 w 43"/>
              <a:gd name="T67" fmla="*/ 361361 h 70"/>
              <a:gd name="T68" fmla="*/ 338137 w 43"/>
              <a:gd name="T69" fmla="*/ 343876 h 70"/>
              <a:gd name="T70" fmla="*/ 314546 w 43"/>
              <a:gd name="T71" fmla="*/ 314734 h 70"/>
              <a:gd name="T72" fmla="*/ 314546 w 43"/>
              <a:gd name="T73" fmla="*/ 285592 h 70"/>
              <a:gd name="T74" fmla="*/ 322410 w 43"/>
              <a:gd name="T75" fmla="*/ 285592 h 70"/>
              <a:gd name="T76" fmla="*/ 306682 w 43"/>
              <a:gd name="T77" fmla="*/ 256450 h 70"/>
              <a:gd name="T78" fmla="*/ 298819 w 43"/>
              <a:gd name="T79" fmla="*/ 244793 h 70"/>
              <a:gd name="T80" fmla="*/ 259501 w 43"/>
              <a:gd name="T81" fmla="*/ 238964 h 70"/>
              <a:gd name="T82" fmla="*/ 220182 w 43"/>
              <a:gd name="T83" fmla="*/ 227308 h 70"/>
              <a:gd name="T84" fmla="*/ 204455 w 43"/>
              <a:gd name="T85" fmla="*/ 198166 h 70"/>
              <a:gd name="T86" fmla="*/ 188728 w 43"/>
              <a:gd name="T87" fmla="*/ 151538 h 70"/>
              <a:gd name="T88" fmla="*/ 204455 w 43"/>
              <a:gd name="T89" fmla="*/ 134053 h 70"/>
              <a:gd name="T90" fmla="*/ 196591 w 43"/>
              <a:gd name="T91" fmla="*/ 93254 h 70"/>
              <a:gd name="T92" fmla="*/ 235910 w 43"/>
              <a:gd name="T93" fmla="*/ 93254 h 70"/>
              <a:gd name="T94" fmla="*/ 251637 w 43"/>
              <a:gd name="T95" fmla="*/ 116568 h 70"/>
              <a:gd name="T96" fmla="*/ 283091 w 43"/>
              <a:gd name="T97" fmla="*/ 116568 h 70"/>
              <a:gd name="T98" fmla="*/ 283091 w 43"/>
              <a:gd name="T99" fmla="*/ 99083 h 70"/>
              <a:gd name="T100" fmla="*/ 290955 w 43"/>
              <a:gd name="T101" fmla="*/ 87426 h 70"/>
              <a:gd name="T102" fmla="*/ 298819 w 43"/>
              <a:gd name="T103" fmla="*/ 93254 h 70"/>
              <a:gd name="T104" fmla="*/ 290955 w 43"/>
              <a:gd name="T105" fmla="*/ 58284 h 70"/>
              <a:gd name="T106" fmla="*/ 306682 w 43"/>
              <a:gd name="T107" fmla="*/ 34970 h 70"/>
              <a:gd name="T108" fmla="*/ 306682 w 43"/>
              <a:gd name="T109" fmla="*/ 11657 h 70"/>
              <a:gd name="T110" fmla="*/ 290955 w 43"/>
              <a:gd name="T111" fmla="*/ 0 h 70"/>
              <a:gd name="T112" fmla="*/ 275228 w 43"/>
              <a:gd name="T113" fmla="*/ 0 h 70"/>
              <a:gd name="T114" fmla="*/ 220182 w 43"/>
              <a:gd name="T115" fmla="*/ 5828 h 70"/>
              <a:gd name="T116" fmla="*/ 212319 w 43"/>
              <a:gd name="T117" fmla="*/ 0 h 70"/>
              <a:gd name="T118" fmla="*/ 212319 w 43"/>
              <a:gd name="T119" fmla="*/ 29142 h 70"/>
              <a:gd name="T120" fmla="*/ 212319 w 43"/>
              <a:gd name="T121" fmla="*/ 34970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3"/>
              <a:gd name="T184" fmla="*/ 0 h 70"/>
              <a:gd name="T185" fmla="*/ 43 w 43"/>
              <a:gd name="T186" fmla="*/ 70 h 7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52" name="Freeform 1422"/>
          <p:cNvSpPr>
            <a:spLocks/>
          </p:cNvSpPr>
          <p:nvPr/>
        </p:nvSpPr>
        <p:spPr bwMode="auto">
          <a:xfrm>
            <a:off x="4325367" y="3994299"/>
            <a:ext cx="187325" cy="106363"/>
          </a:xfrm>
          <a:custGeom>
            <a:avLst/>
            <a:gdLst>
              <a:gd name="T0" fmla="*/ 148299 w 144"/>
              <a:gd name="T1" fmla="*/ 77089 h 109"/>
              <a:gd name="T2" fmla="*/ 156104 w 144"/>
              <a:gd name="T3" fmla="*/ 77089 h 109"/>
              <a:gd name="T4" fmla="*/ 179520 w 144"/>
              <a:gd name="T5" fmla="*/ 53669 h 109"/>
              <a:gd name="T6" fmla="*/ 187325 w 144"/>
              <a:gd name="T7" fmla="*/ 47815 h 109"/>
              <a:gd name="T8" fmla="*/ 171715 w 144"/>
              <a:gd name="T9" fmla="*/ 47815 h 109"/>
              <a:gd name="T10" fmla="*/ 140494 w 144"/>
              <a:gd name="T11" fmla="*/ 24395 h 109"/>
              <a:gd name="T12" fmla="*/ 124883 w 144"/>
              <a:gd name="T13" fmla="*/ 0 h 109"/>
              <a:gd name="T14" fmla="*/ 117078 w 144"/>
              <a:gd name="T15" fmla="*/ 0 h 109"/>
              <a:gd name="T16" fmla="*/ 70247 w 144"/>
              <a:gd name="T17" fmla="*/ 18540 h 109"/>
              <a:gd name="T18" fmla="*/ 31221 w 144"/>
              <a:gd name="T19" fmla="*/ 41960 h 109"/>
              <a:gd name="T20" fmla="*/ 7805 w 144"/>
              <a:gd name="T21" fmla="*/ 65379 h 109"/>
              <a:gd name="T22" fmla="*/ 0 w 144"/>
              <a:gd name="T23" fmla="*/ 82944 h 109"/>
              <a:gd name="T24" fmla="*/ 0 w 144"/>
              <a:gd name="T25" fmla="*/ 94653 h 109"/>
              <a:gd name="T26" fmla="*/ 7805 w 144"/>
              <a:gd name="T27" fmla="*/ 106363 h 109"/>
              <a:gd name="T28" fmla="*/ 46831 w 144"/>
              <a:gd name="T29" fmla="*/ 100508 h 109"/>
              <a:gd name="T30" fmla="*/ 46831 w 144"/>
              <a:gd name="T31" fmla="*/ 106363 h 109"/>
              <a:gd name="T32" fmla="*/ 54636 w 144"/>
              <a:gd name="T33" fmla="*/ 82944 h 109"/>
              <a:gd name="T34" fmla="*/ 93663 w 144"/>
              <a:gd name="T35" fmla="*/ 82944 h 109"/>
              <a:gd name="T36" fmla="*/ 124883 w 144"/>
              <a:gd name="T37" fmla="*/ 82944 h 109"/>
              <a:gd name="T38" fmla="*/ 148299 w 144"/>
              <a:gd name="T39" fmla="*/ 77089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9"/>
              <a:gd name="T62" fmla="*/ 144 w 144"/>
              <a:gd name="T63" fmla="*/ 109 h 10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53" name="Freeform 1423"/>
          <p:cNvSpPr>
            <a:spLocks/>
          </p:cNvSpPr>
          <p:nvPr/>
        </p:nvSpPr>
        <p:spPr bwMode="auto">
          <a:xfrm>
            <a:off x="4325367" y="3994299"/>
            <a:ext cx="187325" cy="106363"/>
          </a:xfrm>
          <a:custGeom>
            <a:avLst/>
            <a:gdLst>
              <a:gd name="T0" fmla="*/ 148299 w 144"/>
              <a:gd name="T1" fmla="*/ 77089 h 109"/>
              <a:gd name="T2" fmla="*/ 156104 w 144"/>
              <a:gd name="T3" fmla="*/ 77089 h 109"/>
              <a:gd name="T4" fmla="*/ 179520 w 144"/>
              <a:gd name="T5" fmla="*/ 53669 h 109"/>
              <a:gd name="T6" fmla="*/ 187325 w 144"/>
              <a:gd name="T7" fmla="*/ 47815 h 109"/>
              <a:gd name="T8" fmla="*/ 171715 w 144"/>
              <a:gd name="T9" fmla="*/ 47815 h 109"/>
              <a:gd name="T10" fmla="*/ 140494 w 144"/>
              <a:gd name="T11" fmla="*/ 24395 h 109"/>
              <a:gd name="T12" fmla="*/ 124883 w 144"/>
              <a:gd name="T13" fmla="*/ 0 h 109"/>
              <a:gd name="T14" fmla="*/ 117078 w 144"/>
              <a:gd name="T15" fmla="*/ 0 h 109"/>
              <a:gd name="T16" fmla="*/ 70247 w 144"/>
              <a:gd name="T17" fmla="*/ 18540 h 109"/>
              <a:gd name="T18" fmla="*/ 31221 w 144"/>
              <a:gd name="T19" fmla="*/ 41960 h 109"/>
              <a:gd name="T20" fmla="*/ 7805 w 144"/>
              <a:gd name="T21" fmla="*/ 65379 h 109"/>
              <a:gd name="T22" fmla="*/ 0 w 144"/>
              <a:gd name="T23" fmla="*/ 82944 h 109"/>
              <a:gd name="T24" fmla="*/ 0 w 144"/>
              <a:gd name="T25" fmla="*/ 94653 h 109"/>
              <a:gd name="T26" fmla="*/ 7805 w 144"/>
              <a:gd name="T27" fmla="*/ 106363 h 109"/>
              <a:gd name="T28" fmla="*/ 46831 w 144"/>
              <a:gd name="T29" fmla="*/ 100508 h 109"/>
              <a:gd name="T30" fmla="*/ 46831 w 144"/>
              <a:gd name="T31" fmla="*/ 106363 h 109"/>
              <a:gd name="T32" fmla="*/ 54636 w 144"/>
              <a:gd name="T33" fmla="*/ 82944 h 109"/>
              <a:gd name="T34" fmla="*/ 93663 w 144"/>
              <a:gd name="T35" fmla="*/ 82944 h 109"/>
              <a:gd name="T36" fmla="*/ 124883 w 144"/>
              <a:gd name="T37" fmla="*/ 82944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4"/>
              <a:gd name="T58" fmla="*/ 0 h 109"/>
              <a:gd name="T59" fmla="*/ 144 w 144"/>
              <a:gd name="T60" fmla="*/ 109 h 10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54" name="Freeform 1424"/>
          <p:cNvSpPr>
            <a:spLocks/>
          </p:cNvSpPr>
          <p:nvPr/>
        </p:nvSpPr>
        <p:spPr bwMode="auto">
          <a:xfrm>
            <a:off x="4449192" y="4072087"/>
            <a:ext cx="23812" cy="4762"/>
          </a:xfrm>
          <a:custGeom>
            <a:avLst/>
            <a:gdLst>
              <a:gd name="T0" fmla="*/ 0 w 18"/>
              <a:gd name="T1" fmla="*/ 4762 h 6"/>
              <a:gd name="T2" fmla="*/ 7937 w 18"/>
              <a:gd name="T3" fmla="*/ 4762 h 6"/>
              <a:gd name="T4" fmla="*/ 23812 w 18"/>
              <a:gd name="T5" fmla="*/ 0 h 6"/>
              <a:gd name="T6" fmla="*/ 0 w 18"/>
              <a:gd name="T7" fmla="*/ 4762 h 6"/>
              <a:gd name="T8" fmla="*/ 0 60000 65536"/>
              <a:gd name="T9" fmla="*/ 0 60000 65536"/>
              <a:gd name="T10" fmla="*/ 0 60000 65536"/>
              <a:gd name="T11" fmla="*/ 0 60000 65536"/>
              <a:gd name="T12" fmla="*/ 0 w 18"/>
              <a:gd name="T13" fmla="*/ 0 h 6"/>
              <a:gd name="T14" fmla="*/ 18 w 18"/>
              <a:gd name="T15" fmla="*/ 6 h 6"/>
            </a:gdLst>
            <a:ahLst/>
            <a:cxnLst>
              <a:cxn ang="T8">
                <a:pos x="T0" y="T1"/>
              </a:cxn>
              <a:cxn ang="T9">
                <a:pos x="T2" y="T3"/>
              </a:cxn>
              <a:cxn ang="T10">
                <a:pos x="T4" y="T5"/>
              </a:cxn>
              <a:cxn ang="T11">
                <a:pos x="T6" y="T7"/>
              </a:cxn>
            </a:cxnLst>
            <a:rect l="T12" t="T13" r="T14" b="T15"/>
            <a:pathLst>
              <a:path w="18" h="6">
                <a:moveTo>
                  <a:pt x="0" y="6"/>
                </a:moveTo>
                <a:lnTo>
                  <a:pt x="6" y="6"/>
                </a:lnTo>
                <a:lnTo>
                  <a:pt x="18" y="0"/>
                </a:lnTo>
                <a:lnTo>
                  <a:pt x="0" y="6"/>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55" name="Freeform 1425"/>
          <p:cNvSpPr>
            <a:spLocks/>
          </p:cNvSpPr>
          <p:nvPr/>
        </p:nvSpPr>
        <p:spPr bwMode="auto">
          <a:xfrm>
            <a:off x="4449192" y="4072087"/>
            <a:ext cx="23812" cy="4762"/>
          </a:xfrm>
          <a:custGeom>
            <a:avLst/>
            <a:gdLst>
              <a:gd name="T0" fmla="*/ 0 w 18"/>
              <a:gd name="T1" fmla="*/ 4762 h 6"/>
              <a:gd name="T2" fmla="*/ 7937 w 18"/>
              <a:gd name="T3" fmla="*/ 4762 h 6"/>
              <a:gd name="T4" fmla="*/ 23812 w 18"/>
              <a:gd name="T5" fmla="*/ 0 h 6"/>
              <a:gd name="T6" fmla="*/ 0 60000 65536"/>
              <a:gd name="T7" fmla="*/ 0 60000 65536"/>
              <a:gd name="T8" fmla="*/ 0 60000 65536"/>
              <a:gd name="T9" fmla="*/ 0 w 18"/>
              <a:gd name="T10" fmla="*/ 0 h 6"/>
              <a:gd name="T11" fmla="*/ 18 w 18"/>
              <a:gd name="T12" fmla="*/ 6 h 6"/>
            </a:gdLst>
            <a:ahLst/>
            <a:cxnLst>
              <a:cxn ang="T6">
                <a:pos x="T0" y="T1"/>
              </a:cxn>
              <a:cxn ang="T7">
                <a:pos x="T2" y="T3"/>
              </a:cxn>
              <a:cxn ang="T8">
                <a:pos x="T4" y="T5"/>
              </a:cxn>
            </a:cxnLst>
            <a:rect l="T9" t="T10" r="T11" b="T12"/>
            <a:pathLst>
              <a:path w="18" h="6">
                <a:moveTo>
                  <a:pt x="0" y="6"/>
                </a:moveTo>
                <a:lnTo>
                  <a:pt x="6" y="6"/>
                </a:lnTo>
                <a:lnTo>
                  <a:pt x="18" y="0"/>
                </a:lnTo>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56" name="Freeform 1426"/>
          <p:cNvSpPr>
            <a:spLocks/>
          </p:cNvSpPr>
          <p:nvPr/>
        </p:nvSpPr>
        <p:spPr bwMode="auto">
          <a:xfrm>
            <a:off x="4371404" y="4076849"/>
            <a:ext cx="101600" cy="98425"/>
          </a:xfrm>
          <a:custGeom>
            <a:avLst/>
            <a:gdLst>
              <a:gd name="T0" fmla="*/ 78154 w 78"/>
              <a:gd name="T1" fmla="*/ 5790 h 102"/>
              <a:gd name="T2" fmla="*/ 78154 w 78"/>
              <a:gd name="T3" fmla="*/ 0 h 102"/>
              <a:gd name="T4" fmla="*/ 46892 w 78"/>
              <a:gd name="T5" fmla="*/ 0 h 102"/>
              <a:gd name="T6" fmla="*/ 7815 w 78"/>
              <a:gd name="T7" fmla="*/ 0 h 102"/>
              <a:gd name="T8" fmla="*/ 0 w 78"/>
              <a:gd name="T9" fmla="*/ 23159 h 102"/>
              <a:gd name="T10" fmla="*/ 15631 w 78"/>
              <a:gd name="T11" fmla="*/ 40528 h 102"/>
              <a:gd name="T12" fmla="*/ 0 w 78"/>
              <a:gd name="T13" fmla="*/ 63687 h 102"/>
              <a:gd name="T14" fmla="*/ 0 w 78"/>
              <a:gd name="T15" fmla="*/ 81056 h 102"/>
              <a:gd name="T16" fmla="*/ 7815 w 78"/>
              <a:gd name="T17" fmla="*/ 98425 h 102"/>
              <a:gd name="T18" fmla="*/ 46892 w 78"/>
              <a:gd name="T19" fmla="*/ 98425 h 102"/>
              <a:gd name="T20" fmla="*/ 101600 w 78"/>
              <a:gd name="T21" fmla="*/ 86846 h 102"/>
              <a:gd name="T22" fmla="*/ 78154 w 78"/>
              <a:gd name="T23" fmla="*/ 34738 h 102"/>
              <a:gd name="T24" fmla="*/ 78154 w 78"/>
              <a:gd name="T25" fmla="*/ 5790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102"/>
              <a:gd name="T41" fmla="*/ 78 w 78"/>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57" name="Freeform 1427"/>
          <p:cNvSpPr>
            <a:spLocks/>
          </p:cNvSpPr>
          <p:nvPr/>
        </p:nvSpPr>
        <p:spPr bwMode="auto">
          <a:xfrm>
            <a:off x="4522217" y="4000649"/>
            <a:ext cx="296862" cy="200025"/>
          </a:xfrm>
          <a:custGeom>
            <a:avLst/>
            <a:gdLst>
              <a:gd name="T0" fmla="*/ 156243 w 228"/>
              <a:gd name="T1" fmla="*/ 147336 h 205"/>
              <a:gd name="T2" fmla="*/ 195304 w 228"/>
              <a:gd name="T3" fmla="*/ 159044 h 205"/>
              <a:gd name="T4" fmla="*/ 234365 w 228"/>
              <a:gd name="T5" fmla="*/ 118064 h 205"/>
              <a:gd name="T6" fmla="*/ 257801 w 228"/>
              <a:gd name="T7" fmla="*/ 71228 h 205"/>
              <a:gd name="T8" fmla="*/ 265613 w 228"/>
              <a:gd name="T9" fmla="*/ 53665 h 205"/>
              <a:gd name="T10" fmla="*/ 289050 w 228"/>
              <a:gd name="T11" fmla="*/ 47811 h 205"/>
              <a:gd name="T12" fmla="*/ 296862 w 228"/>
              <a:gd name="T13" fmla="*/ 30248 h 205"/>
              <a:gd name="T14" fmla="*/ 273426 w 228"/>
              <a:gd name="T15" fmla="*/ 24393 h 205"/>
              <a:gd name="T16" fmla="*/ 257801 w 228"/>
              <a:gd name="T17" fmla="*/ 6830 h 205"/>
              <a:gd name="T18" fmla="*/ 265613 w 228"/>
              <a:gd name="T19" fmla="*/ 0 h 205"/>
              <a:gd name="T20" fmla="*/ 226553 w 228"/>
              <a:gd name="T21" fmla="*/ 24393 h 205"/>
              <a:gd name="T22" fmla="*/ 187492 w 228"/>
              <a:gd name="T23" fmla="*/ 30248 h 205"/>
              <a:gd name="T24" fmla="*/ 140619 w 228"/>
              <a:gd name="T25" fmla="*/ 30248 h 205"/>
              <a:gd name="T26" fmla="*/ 109370 w 228"/>
              <a:gd name="T27" fmla="*/ 41956 h 205"/>
              <a:gd name="T28" fmla="*/ 62497 w 228"/>
              <a:gd name="T29" fmla="*/ 30248 h 205"/>
              <a:gd name="T30" fmla="*/ 31249 w 228"/>
              <a:gd name="T31" fmla="*/ 30248 h 205"/>
              <a:gd name="T32" fmla="*/ 15624 w 228"/>
              <a:gd name="T33" fmla="*/ 47811 h 205"/>
              <a:gd name="T34" fmla="*/ 15624 w 228"/>
              <a:gd name="T35" fmla="*/ 65374 h 205"/>
              <a:gd name="T36" fmla="*/ 15624 w 228"/>
              <a:gd name="T37" fmla="*/ 88792 h 205"/>
              <a:gd name="T38" fmla="*/ 0 w 228"/>
              <a:gd name="T39" fmla="*/ 129772 h 205"/>
              <a:gd name="T40" fmla="*/ 0 w 228"/>
              <a:gd name="T41" fmla="*/ 159044 h 205"/>
              <a:gd name="T42" fmla="*/ 31249 w 228"/>
              <a:gd name="T43" fmla="*/ 159044 h 205"/>
              <a:gd name="T44" fmla="*/ 62497 w 228"/>
              <a:gd name="T45" fmla="*/ 188316 h 205"/>
              <a:gd name="T46" fmla="*/ 93746 w 228"/>
              <a:gd name="T47" fmla="*/ 194171 h 205"/>
              <a:gd name="T48" fmla="*/ 124995 w 228"/>
              <a:gd name="T49" fmla="*/ 200025 h 205"/>
              <a:gd name="T50" fmla="*/ 132807 w 228"/>
              <a:gd name="T51" fmla="*/ 170753 h 205"/>
              <a:gd name="T52" fmla="*/ 156243 w 228"/>
              <a:gd name="T53" fmla="*/ 147336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8"/>
              <a:gd name="T82" fmla="*/ 0 h 205"/>
              <a:gd name="T83" fmla="*/ 228 w 228"/>
              <a:gd name="T84" fmla="*/ 205 h 20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58" name="Freeform 1428"/>
          <p:cNvSpPr>
            <a:spLocks/>
          </p:cNvSpPr>
          <p:nvPr/>
        </p:nvSpPr>
        <p:spPr bwMode="auto">
          <a:xfrm>
            <a:off x="4811142" y="4076849"/>
            <a:ext cx="320675" cy="141288"/>
          </a:xfrm>
          <a:custGeom>
            <a:avLst/>
            <a:gdLst>
              <a:gd name="T0" fmla="*/ 101677 w 246"/>
              <a:gd name="T1" fmla="*/ 35322 h 144"/>
              <a:gd name="T2" fmla="*/ 93856 w 246"/>
              <a:gd name="T3" fmla="*/ 47096 h 144"/>
              <a:gd name="T4" fmla="*/ 46928 w 246"/>
              <a:gd name="T5" fmla="*/ 58870 h 144"/>
              <a:gd name="T6" fmla="*/ 15643 w 246"/>
              <a:gd name="T7" fmla="*/ 64757 h 144"/>
              <a:gd name="T8" fmla="*/ 0 w 246"/>
              <a:gd name="T9" fmla="*/ 100079 h 144"/>
              <a:gd name="T10" fmla="*/ 15643 w 246"/>
              <a:gd name="T11" fmla="*/ 129514 h 144"/>
              <a:gd name="T12" fmla="*/ 23464 w 246"/>
              <a:gd name="T13" fmla="*/ 141288 h 144"/>
              <a:gd name="T14" fmla="*/ 54749 w 246"/>
              <a:gd name="T15" fmla="*/ 129514 h 144"/>
              <a:gd name="T16" fmla="*/ 86035 w 246"/>
              <a:gd name="T17" fmla="*/ 129514 h 144"/>
              <a:gd name="T18" fmla="*/ 101677 w 246"/>
              <a:gd name="T19" fmla="*/ 135401 h 144"/>
              <a:gd name="T20" fmla="*/ 101677 w 246"/>
              <a:gd name="T21" fmla="*/ 111853 h 144"/>
              <a:gd name="T22" fmla="*/ 148605 w 246"/>
              <a:gd name="T23" fmla="*/ 105966 h 144"/>
              <a:gd name="T24" fmla="*/ 187712 w 246"/>
              <a:gd name="T25" fmla="*/ 117740 h 144"/>
              <a:gd name="T26" fmla="*/ 258104 w 246"/>
              <a:gd name="T27" fmla="*/ 105966 h 144"/>
              <a:gd name="T28" fmla="*/ 320675 w 246"/>
              <a:gd name="T29" fmla="*/ 100079 h 144"/>
              <a:gd name="T30" fmla="*/ 320675 w 246"/>
              <a:gd name="T31" fmla="*/ 100079 h 144"/>
              <a:gd name="T32" fmla="*/ 273747 w 246"/>
              <a:gd name="T33" fmla="*/ 64757 h 144"/>
              <a:gd name="T34" fmla="*/ 242462 w 246"/>
              <a:gd name="T35" fmla="*/ 52983 h 144"/>
              <a:gd name="T36" fmla="*/ 218998 w 246"/>
              <a:gd name="T37" fmla="*/ 23548 h 144"/>
              <a:gd name="T38" fmla="*/ 203355 w 246"/>
              <a:gd name="T39" fmla="*/ 0 h 144"/>
              <a:gd name="T40" fmla="*/ 140784 w 246"/>
              <a:gd name="T41" fmla="*/ 29435 h 144"/>
              <a:gd name="T42" fmla="*/ 101677 w 246"/>
              <a:gd name="T43" fmla="*/ 35322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6"/>
              <a:gd name="T67" fmla="*/ 0 h 144"/>
              <a:gd name="T68" fmla="*/ 246 w 246"/>
              <a:gd name="T69" fmla="*/ 144 h 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59" name="Freeform 1429"/>
          <p:cNvSpPr>
            <a:spLocks/>
          </p:cNvSpPr>
          <p:nvPr/>
        </p:nvSpPr>
        <p:spPr bwMode="auto">
          <a:xfrm>
            <a:off x="4717479" y="4207024"/>
            <a:ext cx="195263" cy="174625"/>
          </a:xfrm>
          <a:custGeom>
            <a:avLst/>
            <a:gdLst>
              <a:gd name="T0" fmla="*/ 85916 w 150"/>
              <a:gd name="T1" fmla="*/ 157163 h 180"/>
              <a:gd name="T2" fmla="*/ 117158 w 150"/>
              <a:gd name="T3" fmla="*/ 139700 h 180"/>
              <a:gd name="T4" fmla="*/ 148400 w 150"/>
              <a:gd name="T5" fmla="*/ 93133 h 180"/>
              <a:gd name="T6" fmla="*/ 171831 w 150"/>
              <a:gd name="T7" fmla="*/ 75671 h 180"/>
              <a:gd name="T8" fmla="*/ 195263 w 150"/>
              <a:gd name="T9" fmla="*/ 5821 h 180"/>
              <a:gd name="T10" fmla="*/ 179642 w 150"/>
              <a:gd name="T11" fmla="*/ 0 h 180"/>
              <a:gd name="T12" fmla="*/ 148400 w 150"/>
              <a:gd name="T13" fmla="*/ 0 h 180"/>
              <a:gd name="T14" fmla="*/ 117158 w 150"/>
              <a:gd name="T15" fmla="*/ 11642 h 180"/>
              <a:gd name="T16" fmla="*/ 93726 w 150"/>
              <a:gd name="T17" fmla="*/ 17463 h 180"/>
              <a:gd name="T18" fmla="*/ 78105 w 150"/>
              <a:gd name="T19" fmla="*/ 29104 h 180"/>
              <a:gd name="T20" fmla="*/ 62484 w 150"/>
              <a:gd name="T21" fmla="*/ 34925 h 180"/>
              <a:gd name="T22" fmla="*/ 62484 w 150"/>
              <a:gd name="T23" fmla="*/ 46567 h 180"/>
              <a:gd name="T24" fmla="*/ 78105 w 150"/>
              <a:gd name="T25" fmla="*/ 52387 h 180"/>
              <a:gd name="T26" fmla="*/ 70295 w 150"/>
              <a:gd name="T27" fmla="*/ 81492 h 180"/>
              <a:gd name="T28" fmla="*/ 62484 w 150"/>
              <a:gd name="T29" fmla="*/ 110596 h 180"/>
              <a:gd name="T30" fmla="*/ 39053 w 150"/>
              <a:gd name="T31" fmla="*/ 110596 h 180"/>
              <a:gd name="T32" fmla="*/ 15621 w 150"/>
              <a:gd name="T33" fmla="*/ 122237 h 180"/>
              <a:gd name="T34" fmla="*/ 0 w 150"/>
              <a:gd name="T35" fmla="*/ 133879 h 180"/>
              <a:gd name="T36" fmla="*/ 23432 w 150"/>
              <a:gd name="T37" fmla="*/ 151342 h 180"/>
              <a:gd name="T38" fmla="*/ 31242 w 150"/>
              <a:gd name="T39" fmla="*/ 174625 h 180"/>
              <a:gd name="T40" fmla="*/ 54674 w 150"/>
              <a:gd name="T41" fmla="*/ 157163 h 180"/>
              <a:gd name="T42" fmla="*/ 85916 w 150"/>
              <a:gd name="T43" fmla="*/ 157163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0"/>
              <a:gd name="T67" fmla="*/ 0 h 180"/>
              <a:gd name="T68" fmla="*/ 150 w 150"/>
              <a:gd name="T69" fmla="*/ 180 h 18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60" name="Freeform 1430"/>
          <p:cNvSpPr>
            <a:spLocks/>
          </p:cNvSpPr>
          <p:nvPr/>
        </p:nvSpPr>
        <p:spPr bwMode="auto">
          <a:xfrm>
            <a:off x="4677792" y="4241949"/>
            <a:ext cx="117475" cy="98425"/>
          </a:xfrm>
          <a:custGeom>
            <a:avLst/>
            <a:gdLst>
              <a:gd name="T0" fmla="*/ 78317 w 90"/>
              <a:gd name="T1" fmla="*/ 75266 h 102"/>
              <a:gd name="T2" fmla="*/ 101812 w 90"/>
              <a:gd name="T3" fmla="*/ 75266 h 102"/>
              <a:gd name="T4" fmla="*/ 109643 w 90"/>
              <a:gd name="T5" fmla="*/ 46318 h 102"/>
              <a:gd name="T6" fmla="*/ 117475 w 90"/>
              <a:gd name="T7" fmla="*/ 17369 h 102"/>
              <a:gd name="T8" fmla="*/ 101812 w 90"/>
              <a:gd name="T9" fmla="*/ 11579 h 102"/>
              <a:gd name="T10" fmla="*/ 101812 w 90"/>
              <a:gd name="T11" fmla="*/ 0 h 102"/>
              <a:gd name="T12" fmla="*/ 62653 w 90"/>
              <a:gd name="T13" fmla="*/ 0 h 102"/>
              <a:gd name="T14" fmla="*/ 0 w 90"/>
              <a:gd name="T15" fmla="*/ 0 h 102"/>
              <a:gd name="T16" fmla="*/ 0 w 90"/>
              <a:gd name="T17" fmla="*/ 17369 h 102"/>
              <a:gd name="T18" fmla="*/ 0 w 90"/>
              <a:gd name="T19" fmla="*/ 52107 h 102"/>
              <a:gd name="T20" fmla="*/ 39158 w 90"/>
              <a:gd name="T21" fmla="*/ 98425 h 102"/>
              <a:gd name="T22" fmla="*/ 54822 w 90"/>
              <a:gd name="T23" fmla="*/ 86846 h 102"/>
              <a:gd name="T24" fmla="*/ 78317 w 90"/>
              <a:gd name="T25" fmla="*/ 75266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102"/>
              <a:gd name="T41" fmla="*/ 90 w 90"/>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61" name="Freeform 1431"/>
          <p:cNvSpPr>
            <a:spLocks/>
          </p:cNvSpPr>
          <p:nvPr/>
        </p:nvSpPr>
        <p:spPr bwMode="auto">
          <a:xfrm>
            <a:off x="4646042" y="4048274"/>
            <a:ext cx="187325" cy="193675"/>
          </a:xfrm>
          <a:custGeom>
            <a:avLst/>
            <a:gdLst>
              <a:gd name="T0" fmla="*/ 187325 w 144"/>
              <a:gd name="T1" fmla="*/ 170199 h 198"/>
              <a:gd name="T2" fmla="*/ 179520 w 144"/>
              <a:gd name="T3" fmla="*/ 158461 h 198"/>
              <a:gd name="T4" fmla="*/ 163909 w 144"/>
              <a:gd name="T5" fmla="*/ 129117 h 198"/>
              <a:gd name="T6" fmla="*/ 179520 w 144"/>
              <a:gd name="T7" fmla="*/ 93903 h 198"/>
              <a:gd name="T8" fmla="*/ 171715 w 144"/>
              <a:gd name="T9" fmla="*/ 93903 h 198"/>
              <a:gd name="T10" fmla="*/ 148299 w 144"/>
              <a:gd name="T11" fmla="*/ 64558 h 198"/>
              <a:gd name="T12" fmla="*/ 148299 w 144"/>
              <a:gd name="T13" fmla="*/ 46952 h 198"/>
              <a:gd name="T14" fmla="*/ 179520 w 144"/>
              <a:gd name="T15" fmla="*/ 41083 h 198"/>
              <a:gd name="T16" fmla="*/ 163909 w 144"/>
              <a:gd name="T17" fmla="*/ 0 h 198"/>
              <a:gd name="T18" fmla="*/ 163909 w 144"/>
              <a:gd name="T19" fmla="*/ 0 h 198"/>
              <a:gd name="T20" fmla="*/ 140494 w 144"/>
              <a:gd name="T21" fmla="*/ 5869 h 198"/>
              <a:gd name="T22" fmla="*/ 132689 w 144"/>
              <a:gd name="T23" fmla="*/ 23476 h 198"/>
              <a:gd name="T24" fmla="*/ 109273 w 144"/>
              <a:gd name="T25" fmla="*/ 70427 h 198"/>
              <a:gd name="T26" fmla="*/ 70247 w 144"/>
              <a:gd name="T27" fmla="*/ 111510 h 198"/>
              <a:gd name="T28" fmla="*/ 31221 w 144"/>
              <a:gd name="T29" fmla="*/ 99772 h 198"/>
              <a:gd name="T30" fmla="*/ 7805 w 144"/>
              <a:gd name="T31" fmla="*/ 123248 h 198"/>
              <a:gd name="T32" fmla="*/ 0 w 144"/>
              <a:gd name="T33" fmla="*/ 152592 h 198"/>
              <a:gd name="T34" fmla="*/ 23416 w 144"/>
              <a:gd name="T35" fmla="*/ 152592 h 198"/>
              <a:gd name="T36" fmla="*/ 31221 w 144"/>
              <a:gd name="T37" fmla="*/ 193675 h 198"/>
              <a:gd name="T38" fmla="*/ 93663 w 144"/>
              <a:gd name="T39" fmla="*/ 193675 h 198"/>
              <a:gd name="T40" fmla="*/ 132689 w 144"/>
              <a:gd name="T41" fmla="*/ 193675 h 198"/>
              <a:gd name="T42" fmla="*/ 187325 w 144"/>
              <a:gd name="T43" fmla="*/ 170199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98"/>
              <a:gd name="T68" fmla="*/ 144 w 144"/>
              <a:gd name="T69" fmla="*/ 198 h 1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62" name="Freeform 1432"/>
          <p:cNvSpPr>
            <a:spLocks/>
          </p:cNvSpPr>
          <p:nvPr/>
        </p:nvSpPr>
        <p:spPr bwMode="auto">
          <a:xfrm>
            <a:off x="4646042" y="4048274"/>
            <a:ext cx="187325" cy="193675"/>
          </a:xfrm>
          <a:custGeom>
            <a:avLst/>
            <a:gdLst>
              <a:gd name="T0" fmla="*/ 187325 w 144"/>
              <a:gd name="T1" fmla="*/ 170199 h 198"/>
              <a:gd name="T2" fmla="*/ 179520 w 144"/>
              <a:gd name="T3" fmla="*/ 158461 h 198"/>
              <a:gd name="T4" fmla="*/ 163909 w 144"/>
              <a:gd name="T5" fmla="*/ 129117 h 198"/>
              <a:gd name="T6" fmla="*/ 179520 w 144"/>
              <a:gd name="T7" fmla="*/ 93903 h 198"/>
              <a:gd name="T8" fmla="*/ 171715 w 144"/>
              <a:gd name="T9" fmla="*/ 93903 h 198"/>
              <a:gd name="T10" fmla="*/ 148299 w 144"/>
              <a:gd name="T11" fmla="*/ 64558 h 198"/>
              <a:gd name="T12" fmla="*/ 148299 w 144"/>
              <a:gd name="T13" fmla="*/ 46952 h 198"/>
              <a:gd name="T14" fmla="*/ 179520 w 144"/>
              <a:gd name="T15" fmla="*/ 41083 h 198"/>
              <a:gd name="T16" fmla="*/ 163909 w 144"/>
              <a:gd name="T17" fmla="*/ 0 h 198"/>
              <a:gd name="T18" fmla="*/ 163909 w 144"/>
              <a:gd name="T19" fmla="*/ 0 h 198"/>
              <a:gd name="T20" fmla="*/ 140494 w 144"/>
              <a:gd name="T21" fmla="*/ 5869 h 198"/>
              <a:gd name="T22" fmla="*/ 132689 w 144"/>
              <a:gd name="T23" fmla="*/ 23476 h 198"/>
              <a:gd name="T24" fmla="*/ 109273 w 144"/>
              <a:gd name="T25" fmla="*/ 70427 h 198"/>
              <a:gd name="T26" fmla="*/ 70247 w 144"/>
              <a:gd name="T27" fmla="*/ 111510 h 198"/>
              <a:gd name="T28" fmla="*/ 31221 w 144"/>
              <a:gd name="T29" fmla="*/ 99772 h 198"/>
              <a:gd name="T30" fmla="*/ 7805 w 144"/>
              <a:gd name="T31" fmla="*/ 123248 h 198"/>
              <a:gd name="T32" fmla="*/ 0 w 144"/>
              <a:gd name="T33" fmla="*/ 152592 h 198"/>
              <a:gd name="T34" fmla="*/ 23416 w 144"/>
              <a:gd name="T35" fmla="*/ 152592 h 198"/>
              <a:gd name="T36" fmla="*/ 31221 w 144"/>
              <a:gd name="T37" fmla="*/ 193675 h 198"/>
              <a:gd name="T38" fmla="*/ 93663 w 144"/>
              <a:gd name="T39" fmla="*/ 193675 h 198"/>
              <a:gd name="T40" fmla="*/ 132689 w 144"/>
              <a:gd name="T41" fmla="*/ 193675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4"/>
              <a:gd name="T64" fmla="*/ 0 h 198"/>
              <a:gd name="T65" fmla="*/ 144 w 144"/>
              <a:gd name="T66" fmla="*/ 198 h 1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63" name="Freeform 1433"/>
          <p:cNvSpPr>
            <a:spLocks/>
          </p:cNvSpPr>
          <p:nvPr/>
        </p:nvSpPr>
        <p:spPr bwMode="auto">
          <a:xfrm>
            <a:off x="4473004" y="4041924"/>
            <a:ext cx="63500" cy="117475"/>
          </a:xfrm>
          <a:custGeom>
            <a:avLst/>
            <a:gdLst>
              <a:gd name="T0" fmla="*/ 63500 w 48"/>
              <a:gd name="T1" fmla="*/ 46990 h 120"/>
              <a:gd name="T2" fmla="*/ 63500 w 48"/>
              <a:gd name="T3" fmla="*/ 23495 h 120"/>
              <a:gd name="T4" fmla="*/ 63500 w 48"/>
              <a:gd name="T5" fmla="*/ 5874 h 120"/>
              <a:gd name="T6" fmla="*/ 55563 w 48"/>
              <a:gd name="T7" fmla="*/ 5874 h 120"/>
              <a:gd name="T8" fmla="*/ 39687 w 48"/>
              <a:gd name="T9" fmla="*/ 0 h 120"/>
              <a:gd name="T10" fmla="*/ 31750 w 48"/>
              <a:gd name="T11" fmla="*/ 5874 h 120"/>
              <a:gd name="T12" fmla="*/ 7938 w 48"/>
              <a:gd name="T13" fmla="*/ 29369 h 120"/>
              <a:gd name="T14" fmla="*/ 0 w 48"/>
              <a:gd name="T15" fmla="*/ 29369 h 120"/>
              <a:gd name="T16" fmla="*/ 0 w 48"/>
              <a:gd name="T17" fmla="*/ 46990 h 120"/>
              <a:gd name="T18" fmla="*/ 7938 w 48"/>
              <a:gd name="T19" fmla="*/ 88106 h 120"/>
              <a:gd name="T20" fmla="*/ 31750 w 48"/>
              <a:gd name="T21" fmla="*/ 117475 h 120"/>
              <a:gd name="T22" fmla="*/ 31750 w 48"/>
              <a:gd name="T23" fmla="*/ 117475 h 120"/>
              <a:gd name="T24" fmla="*/ 47625 w 48"/>
              <a:gd name="T25" fmla="*/ 117475 h 120"/>
              <a:gd name="T26" fmla="*/ 47625 w 48"/>
              <a:gd name="T27" fmla="*/ 88106 h 120"/>
              <a:gd name="T28" fmla="*/ 63500 w 48"/>
              <a:gd name="T29" fmla="*/ 46990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120"/>
              <a:gd name="T47" fmla="*/ 48 w 48"/>
              <a:gd name="T48" fmla="*/ 120 h 1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64" name="Freeform 1434"/>
          <p:cNvSpPr>
            <a:spLocks/>
          </p:cNvSpPr>
          <p:nvPr/>
        </p:nvSpPr>
        <p:spPr bwMode="auto">
          <a:xfrm>
            <a:off x="4449192" y="4072087"/>
            <a:ext cx="55562" cy="93662"/>
          </a:xfrm>
          <a:custGeom>
            <a:avLst/>
            <a:gdLst>
              <a:gd name="T0" fmla="*/ 23812 w 42"/>
              <a:gd name="T1" fmla="*/ 17562 h 96"/>
              <a:gd name="T2" fmla="*/ 23812 w 42"/>
              <a:gd name="T3" fmla="*/ 0 h 96"/>
              <a:gd name="T4" fmla="*/ 7937 w 42"/>
              <a:gd name="T5" fmla="*/ 5854 h 96"/>
              <a:gd name="T6" fmla="*/ 0 w 42"/>
              <a:gd name="T7" fmla="*/ 5854 h 96"/>
              <a:gd name="T8" fmla="*/ 0 w 42"/>
              <a:gd name="T9" fmla="*/ 11708 h 96"/>
              <a:gd name="T10" fmla="*/ 0 w 42"/>
              <a:gd name="T11" fmla="*/ 40977 h 96"/>
              <a:gd name="T12" fmla="*/ 23812 w 42"/>
              <a:gd name="T13" fmla="*/ 93662 h 96"/>
              <a:gd name="T14" fmla="*/ 55562 w 42"/>
              <a:gd name="T15" fmla="*/ 87808 h 96"/>
              <a:gd name="T16" fmla="*/ 31750 w 42"/>
              <a:gd name="T17" fmla="*/ 58539 h 96"/>
              <a:gd name="T18" fmla="*/ 23812 w 42"/>
              <a:gd name="T19" fmla="*/ 17562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96"/>
              <a:gd name="T32" fmla="*/ 42 w 42"/>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65" name="Freeform 1435"/>
          <p:cNvSpPr>
            <a:spLocks/>
          </p:cNvSpPr>
          <p:nvPr/>
        </p:nvSpPr>
        <p:spPr bwMode="auto">
          <a:xfrm>
            <a:off x="4741292" y="4592787"/>
            <a:ext cx="320675" cy="244475"/>
          </a:xfrm>
          <a:custGeom>
            <a:avLst/>
            <a:gdLst>
              <a:gd name="T0" fmla="*/ 164248 w 246"/>
              <a:gd name="T1" fmla="*/ 244475 h 252"/>
              <a:gd name="T2" fmla="*/ 187712 w 246"/>
              <a:gd name="T3" fmla="*/ 238654 h 252"/>
              <a:gd name="T4" fmla="*/ 203355 w 246"/>
              <a:gd name="T5" fmla="*/ 157163 h 252"/>
              <a:gd name="T6" fmla="*/ 203355 w 246"/>
              <a:gd name="T7" fmla="*/ 104775 h 252"/>
              <a:gd name="T8" fmla="*/ 218998 w 246"/>
              <a:gd name="T9" fmla="*/ 98954 h 252"/>
              <a:gd name="T10" fmla="*/ 226819 w 246"/>
              <a:gd name="T11" fmla="*/ 34925 h 252"/>
              <a:gd name="T12" fmla="*/ 289390 w 246"/>
              <a:gd name="T13" fmla="*/ 23283 h 252"/>
              <a:gd name="T14" fmla="*/ 312854 w 246"/>
              <a:gd name="T15" fmla="*/ 17463 h 252"/>
              <a:gd name="T16" fmla="*/ 312854 w 246"/>
              <a:gd name="T17" fmla="*/ 17463 h 252"/>
              <a:gd name="T18" fmla="*/ 312854 w 246"/>
              <a:gd name="T19" fmla="*/ 17463 h 252"/>
              <a:gd name="T20" fmla="*/ 320675 w 246"/>
              <a:gd name="T21" fmla="*/ 17463 h 252"/>
              <a:gd name="T22" fmla="*/ 305032 w 246"/>
              <a:gd name="T23" fmla="*/ 11642 h 252"/>
              <a:gd name="T24" fmla="*/ 273747 w 246"/>
              <a:gd name="T25" fmla="*/ 11642 h 252"/>
              <a:gd name="T26" fmla="*/ 281568 w 246"/>
              <a:gd name="T27" fmla="*/ 17463 h 252"/>
              <a:gd name="T28" fmla="*/ 273747 w 246"/>
              <a:gd name="T29" fmla="*/ 11642 h 252"/>
              <a:gd name="T30" fmla="*/ 226819 w 246"/>
              <a:gd name="T31" fmla="*/ 17463 h 252"/>
              <a:gd name="T32" fmla="*/ 164248 w 246"/>
              <a:gd name="T33" fmla="*/ 17463 h 252"/>
              <a:gd name="T34" fmla="*/ 148605 w 246"/>
              <a:gd name="T35" fmla="*/ 11642 h 252"/>
              <a:gd name="T36" fmla="*/ 39107 w 246"/>
              <a:gd name="T37" fmla="*/ 11642 h 252"/>
              <a:gd name="T38" fmla="*/ 23464 w 246"/>
              <a:gd name="T39" fmla="*/ 0 h 252"/>
              <a:gd name="T40" fmla="*/ 7821 w 246"/>
              <a:gd name="T41" fmla="*/ 5821 h 252"/>
              <a:gd name="T42" fmla="*/ 0 w 246"/>
              <a:gd name="T43" fmla="*/ 40746 h 252"/>
              <a:gd name="T44" fmla="*/ 54749 w 246"/>
              <a:gd name="T45" fmla="*/ 122238 h 252"/>
              <a:gd name="T46" fmla="*/ 62571 w 246"/>
              <a:gd name="T47" fmla="*/ 139700 h 252"/>
              <a:gd name="T48" fmla="*/ 78213 w 246"/>
              <a:gd name="T49" fmla="*/ 215371 h 252"/>
              <a:gd name="T50" fmla="*/ 117320 w 246"/>
              <a:gd name="T51" fmla="*/ 244475 h 252"/>
              <a:gd name="T52" fmla="*/ 125141 w 246"/>
              <a:gd name="T53" fmla="*/ 232833 h 252"/>
              <a:gd name="T54" fmla="*/ 164248 w 246"/>
              <a:gd name="T55" fmla="*/ 244475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46"/>
              <a:gd name="T85" fmla="*/ 0 h 252"/>
              <a:gd name="T86" fmla="*/ 246 w 246"/>
              <a:gd name="T87" fmla="*/ 252 h 25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66" name="Freeform 1436"/>
          <p:cNvSpPr>
            <a:spLocks/>
          </p:cNvSpPr>
          <p:nvPr/>
        </p:nvSpPr>
        <p:spPr bwMode="auto">
          <a:xfrm>
            <a:off x="4473004" y="3924449"/>
            <a:ext cx="79375" cy="69850"/>
          </a:xfrm>
          <a:custGeom>
            <a:avLst/>
            <a:gdLst>
              <a:gd name="T0" fmla="*/ 0 w 10"/>
              <a:gd name="T1" fmla="*/ 69850 h 12"/>
              <a:gd name="T2" fmla="*/ 31750 w 10"/>
              <a:gd name="T3" fmla="*/ 64029 h 12"/>
              <a:gd name="T4" fmla="*/ 71438 w 10"/>
              <a:gd name="T5" fmla="*/ 58208 h 12"/>
              <a:gd name="T6" fmla="*/ 79375 w 10"/>
              <a:gd name="T7" fmla="*/ 46567 h 12"/>
              <a:gd name="T8" fmla="*/ 79375 w 10"/>
              <a:gd name="T9" fmla="*/ 0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solidFill>
            <a:srgbClr val="FFC00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67" name="Freeform 1437"/>
          <p:cNvSpPr>
            <a:spLocks/>
          </p:cNvSpPr>
          <p:nvPr/>
        </p:nvSpPr>
        <p:spPr bwMode="auto">
          <a:xfrm>
            <a:off x="166117" y="2370287"/>
            <a:ext cx="676275" cy="690562"/>
          </a:xfrm>
          <a:custGeom>
            <a:avLst/>
            <a:gdLst>
              <a:gd name="T0" fmla="*/ 660548 w 516"/>
              <a:gd name="T1" fmla="*/ 93503 h 709"/>
              <a:gd name="T2" fmla="*/ 636957 w 516"/>
              <a:gd name="T3" fmla="*/ 75972 h 709"/>
              <a:gd name="T4" fmla="*/ 566184 w 516"/>
              <a:gd name="T5" fmla="*/ 81816 h 709"/>
              <a:gd name="T6" fmla="*/ 463956 w 516"/>
              <a:gd name="T7" fmla="*/ 46752 h 709"/>
              <a:gd name="T8" fmla="*/ 416774 w 516"/>
              <a:gd name="T9" fmla="*/ 52596 h 709"/>
              <a:gd name="T10" fmla="*/ 377456 w 516"/>
              <a:gd name="T11" fmla="*/ 35064 h 709"/>
              <a:gd name="T12" fmla="*/ 369592 w 516"/>
              <a:gd name="T13" fmla="*/ 17532 h 709"/>
              <a:gd name="T14" fmla="*/ 298819 w 516"/>
              <a:gd name="T15" fmla="*/ 0 h 709"/>
              <a:gd name="T16" fmla="*/ 259501 w 516"/>
              <a:gd name="T17" fmla="*/ 23376 h 709"/>
              <a:gd name="T18" fmla="*/ 196592 w 516"/>
              <a:gd name="T19" fmla="*/ 40908 h 709"/>
              <a:gd name="T20" fmla="*/ 149410 w 516"/>
              <a:gd name="T21" fmla="*/ 64284 h 709"/>
              <a:gd name="T22" fmla="*/ 117955 w 516"/>
              <a:gd name="T23" fmla="*/ 122723 h 709"/>
              <a:gd name="T24" fmla="*/ 55046 w 516"/>
              <a:gd name="T25" fmla="*/ 134411 h 709"/>
              <a:gd name="T26" fmla="*/ 55046 w 516"/>
              <a:gd name="T27" fmla="*/ 169475 h 709"/>
              <a:gd name="T28" fmla="*/ 102228 w 516"/>
              <a:gd name="T29" fmla="*/ 216227 h 709"/>
              <a:gd name="T30" fmla="*/ 149410 w 516"/>
              <a:gd name="T31" fmla="*/ 233759 h 709"/>
              <a:gd name="T32" fmla="*/ 149410 w 516"/>
              <a:gd name="T33" fmla="*/ 257135 h 709"/>
              <a:gd name="T34" fmla="*/ 117955 w 516"/>
              <a:gd name="T35" fmla="*/ 268822 h 709"/>
              <a:gd name="T36" fmla="*/ 78637 w 516"/>
              <a:gd name="T37" fmla="*/ 257135 h 709"/>
              <a:gd name="T38" fmla="*/ 0 w 516"/>
              <a:gd name="T39" fmla="*/ 298042 h 709"/>
              <a:gd name="T40" fmla="*/ 23591 w 516"/>
              <a:gd name="T41" fmla="*/ 315574 h 709"/>
              <a:gd name="T42" fmla="*/ 55046 w 516"/>
              <a:gd name="T43" fmla="*/ 338950 h 709"/>
              <a:gd name="T44" fmla="*/ 125819 w 516"/>
              <a:gd name="T45" fmla="*/ 338950 h 709"/>
              <a:gd name="T46" fmla="*/ 180864 w 516"/>
              <a:gd name="T47" fmla="*/ 344794 h 709"/>
              <a:gd name="T48" fmla="*/ 157273 w 516"/>
              <a:gd name="T49" fmla="*/ 385702 h 709"/>
              <a:gd name="T50" fmla="*/ 94364 w 516"/>
              <a:gd name="T51" fmla="*/ 403234 h 709"/>
              <a:gd name="T52" fmla="*/ 47182 w 516"/>
              <a:gd name="T53" fmla="*/ 426610 h 709"/>
              <a:gd name="T54" fmla="*/ 39318 w 516"/>
              <a:gd name="T55" fmla="*/ 455829 h 709"/>
              <a:gd name="T56" fmla="*/ 94364 w 516"/>
              <a:gd name="T57" fmla="*/ 485049 h 709"/>
              <a:gd name="T58" fmla="*/ 102228 w 516"/>
              <a:gd name="T59" fmla="*/ 515243 h 709"/>
              <a:gd name="T60" fmla="*/ 141546 w 516"/>
              <a:gd name="T61" fmla="*/ 526931 h 709"/>
              <a:gd name="T62" fmla="*/ 149410 w 516"/>
              <a:gd name="T63" fmla="*/ 567839 h 709"/>
              <a:gd name="T64" fmla="*/ 204455 w 516"/>
              <a:gd name="T65" fmla="*/ 561995 h 709"/>
              <a:gd name="T66" fmla="*/ 275228 w 516"/>
              <a:gd name="T67" fmla="*/ 561995 h 709"/>
              <a:gd name="T68" fmla="*/ 235910 w 516"/>
              <a:gd name="T69" fmla="*/ 614590 h 709"/>
              <a:gd name="T70" fmla="*/ 117955 w 516"/>
              <a:gd name="T71" fmla="*/ 690562 h 709"/>
              <a:gd name="T72" fmla="*/ 251637 w 516"/>
              <a:gd name="T73" fmla="*/ 637966 h 709"/>
              <a:gd name="T74" fmla="*/ 353865 w 516"/>
              <a:gd name="T75" fmla="*/ 556151 h 709"/>
              <a:gd name="T76" fmla="*/ 346001 w 516"/>
              <a:gd name="T77" fmla="*/ 538619 h 709"/>
              <a:gd name="T78" fmla="*/ 408910 w 516"/>
              <a:gd name="T79" fmla="*/ 479205 h 709"/>
              <a:gd name="T80" fmla="*/ 424638 w 516"/>
              <a:gd name="T81" fmla="*/ 503555 h 709"/>
              <a:gd name="T82" fmla="*/ 432501 w 516"/>
              <a:gd name="T83" fmla="*/ 532775 h 709"/>
              <a:gd name="T84" fmla="*/ 479683 w 516"/>
              <a:gd name="T85" fmla="*/ 503555 h 709"/>
              <a:gd name="T86" fmla="*/ 534729 w 516"/>
              <a:gd name="T87" fmla="*/ 479205 h 709"/>
              <a:gd name="T88" fmla="*/ 558320 w 516"/>
              <a:gd name="T89" fmla="*/ 491867 h 709"/>
              <a:gd name="T90" fmla="*/ 676275 w 516"/>
              <a:gd name="T91" fmla="*/ 509399 h 709"/>
              <a:gd name="T92" fmla="*/ 676275 w 516"/>
              <a:gd name="T93" fmla="*/ 93503 h 709"/>
              <a:gd name="T94" fmla="*/ 660548 w 516"/>
              <a:gd name="T95" fmla="*/ 93503 h 7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6"/>
              <a:gd name="T145" fmla="*/ 0 h 709"/>
              <a:gd name="T146" fmla="*/ 516 w 516"/>
              <a:gd name="T147" fmla="*/ 709 h 7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solidFill>
            <a:schemeClr val="bg2"/>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68" name="Freeform 1438"/>
          <p:cNvSpPr>
            <a:spLocks/>
          </p:cNvSpPr>
          <p:nvPr/>
        </p:nvSpPr>
        <p:spPr bwMode="auto">
          <a:xfrm>
            <a:off x="842392" y="2341712"/>
            <a:ext cx="2119312" cy="1089025"/>
          </a:xfrm>
          <a:custGeom>
            <a:avLst/>
            <a:gdLst>
              <a:gd name="T0" fmla="*/ 1271326 w 1622"/>
              <a:gd name="T1" fmla="*/ 931082 h 1117"/>
              <a:gd name="T2" fmla="*/ 1451637 w 1622"/>
              <a:gd name="T3" fmla="*/ 1053927 h 1117"/>
              <a:gd name="T4" fmla="*/ 1554859 w 1622"/>
              <a:gd name="T5" fmla="*/ 1065626 h 1117"/>
              <a:gd name="T6" fmla="*/ 1648935 w 1622"/>
              <a:gd name="T7" fmla="*/ 1024678 h 1117"/>
              <a:gd name="T8" fmla="*/ 1790048 w 1622"/>
              <a:gd name="T9" fmla="*/ 954481 h 1117"/>
              <a:gd name="T10" fmla="*/ 1837086 w 1622"/>
              <a:gd name="T11" fmla="*/ 1018828 h 1117"/>
              <a:gd name="T12" fmla="*/ 1891963 w 1622"/>
              <a:gd name="T13" fmla="*/ 1007129 h 1117"/>
              <a:gd name="T14" fmla="*/ 1891963 w 1622"/>
              <a:gd name="T15" fmla="*/ 1048077 h 1117"/>
              <a:gd name="T16" fmla="*/ 1986038 w 1622"/>
              <a:gd name="T17" fmla="*/ 983730 h 1117"/>
              <a:gd name="T18" fmla="*/ 1884123 w 1622"/>
              <a:gd name="T19" fmla="*/ 942782 h 1117"/>
              <a:gd name="T20" fmla="*/ 1915482 w 1622"/>
              <a:gd name="T21" fmla="*/ 901833 h 1117"/>
              <a:gd name="T22" fmla="*/ 1750850 w 1622"/>
              <a:gd name="T23" fmla="*/ 954481 h 1117"/>
              <a:gd name="T24" fmla="*/ 1829246 w 1622"/>
              <a:gd name="T25" fmla="*/ 890134 h 1117"/>
              <a:gd name="T26" fmla="*/ 1954680 w 1622"/>
              <a:gd name="T27" fmla="*/ 872585 h 1117"/>
              <a:gd name="T28" fmla="*/ 2080114 w 1622"/>
              <a:gd name="T29" fmla="*/ 837486 h 1117"/>
              <a:gd name="T30" fmla="*/ 2087954 w 1622"/>
              <a:gd name="T31" fmla="*/ 755590 h 1117"/>
              <a:gd name="T32" fmla="*/ 1978199 w 1622"/>
              <a:gd name="T33" fmla="*/ 685393 h 1117"/>
              <a:gd name="T34" fmla="*/ 1891963 w 1622"/>
              <a:gd name="T35" fmla="*/ 539150 h 1117"/>
              <a:gd name="T36" fmla="*/ 1813567 w 1622"/>
              <a:gd name="T37" fmla="*/ 603497 h 1117"/>
              <a:gd name="T38" fmla="*/ 1774369 w 1622"/>
              <a:gd name="T39" fmla="*/ 591798 h 1117"/>
              <a:gd name="T40" fmla="*/ 1727331 w 1622"/>
              <a:gd name="T41" fmla="*/ 503077 h 1117"/>
              <a:gd name="T42" fmla="*/ 1648935 w 1622"/>
              <a:gd name="T43" fmla="*/ 467978 h 1117"/>
              <a:gd name="T44" fmla="*/ 1570538 w 1622"/>
              <a:gd name="T45" fmla="*/ 462129 h 1117"/>
              <a:gd name="T46" fmla="*/ 1570538 w 1622"/>
              <a:gd name="T47" fmla="*/ 521601 h 1117"/>
              <a:gd name="T48" fmla="*/ 1554859 w 1622"/>
              <a:gd name="T49" fmla="*/ 609347 h 1117"/>
              <a:gd name="T50" fmla="*/ 1523501 w 1622"/>
              <a:gd name="T51" fmla="*/ 732191 h 1117"/>
              <a:gd name="T52" fmla="*/ 1507821 w 1622"/>
              <a:gd name="T53" fmla="*/ 837486 h 1117"/>
              <a:gd name="T54" fmla="*/ 1459477 w 1622"/>
              <a:gd name="T55" fmla="*/ 720492 h 1117"/>
              <a:gd name="T56" fmla="*/ 1232128 w 1622"/>
              <a:gd name="T57" fmla="*/ 650295 h 1117"/>
              <a:gd name="T58" fmla="*/ 1177250 w 1622"/>
              <a:gd name="T59" fmla="*/ 597648 h 1117"/>
              <a:gd name="T60" fmla="*/ 1216448 w 1622"/>
              <a:gd name="T61" fmla="*/ 438730 h 1117"/>
              <a:gd name="T62" fmla="*/ 1294845 w 1622"/>
              <a:gd name="T63" fmla="*/ 391932 h 1117"/>
              <a:gd name="T64" fmla="*/ 1341883 w 1622"/>
              <a:gd name="T65" fmla="*/ 333435 h 1117"/>
              <a:gd name="T66" fmla="*/ 1435958 w 1622"/>
              <a:gd name="T67" fmla="*/ 274937 h 1117"/>
              <a:gd name="T68" fmla="*/ 1451637 w 1622"/>
              <a:gd name="T69" fmla="*/ 198891 h 1117"/>
              <a:gd name="T70" fmla="*/ 1435958 w 1622"/>
              <a:gd name="T71" fmla="*/ 134544 h 1117"/>
              <a:gd name="T72" fmla="*/ 1373241 w 1622"/>
              <a:gd name="T73" fmla="*/ 187191 h 1117"/>
              <a:gd name="T74" fmla="*/ 1310524 w 1622"/>
              <a:gd name="T75" fmla="*/ 175492 h 1117"/>
              <a:gd name="T76" fmla="*/ 1255647 w 1622"/>
              <a:gd name="T77" fmla="*/ 181342 h 1117"/>
              <a:gd name="T78" fmla="*/ 1208609 w 1622"/>
              <a:gd name="T79" fmla="*/ 111145 h 1117"/>
              <a:gd name="T80" fmla="*/ 1145892 w 1622"/>
              <a:gd name="T81" fmla="*/ 0 h 1117"/>
              <a:gd name="T82" fmla="*/ 1106694 w 1622"/>
              <a:gd name="T83" fmla="*/ 111145 h 1117"/>
              <a:gd name="T84" fmla="*/ 1169411 w 1622"/>
              <a:gd name="T85" fmla="*/ 181342 h 1117"/>
              <a:gd name="T86" fmla="*/ 1106694 w 1622"/>
              <a:gd name="T87" fmla="*/ 198891 h 1117"/>
              <a:gd name="T88" fmla="*/ 1059656 w 1622"/>
              <a:gd name="T89" fmla="*/ 228139 h 1117"/>
              <a:gd name="T90" fmla="*/ 926382 w 1622"/>
              <a:gd name="T91" fmla="*/ 216440 h 1117"/>
              <a:gd name="T92" fmla="*/ 808788 w 1622"/>
              <a:gd name="T93" fmla="*/ 204741 h 1117"/>
              <a:gd name="T94" fmla="*/ 824467 w 1622"/>
              <a:gd name="T95" fmla="*/ 257388 h 1117"/>
              <a:gd name="T96" fmla="*/ 761750 w 1622"/>
              <a:gd name="T97" fmla="*/ 216440 h 1117"/>
              <a:gd name="T98" fmla="*/ 636316 w 1622"/>
              <a:gd name="T99" fmla="*/ 204741 h 1117"/>
              <a:gd name="T100" fmla="*/ 597118 w 1622"/>
              <a:gd name="T101" fmla="*/ 169642 h 1117"/>
              <a:gd name="T102" fmla="*/ 448165 w 1622"/>
              <a:gd name="T103" fmla="*/ 128694 h 1117"/>
              <a:gd name="T104" fmla="*/ 338411 w 1622"/>
              <a:gd name="T105" fmla="*/ 93596 h 1117"/>
              <a:gd name="T106" fmla="*/ 150259 w 1622"/>
              <a:gd name="T107" fmla="*/ 175492 h 1117"/>
              <a:gd name="T108" fmla="*/ 48344 w 1622"/>
              <a:gd name="T109" fmla="*/ 134544 h 1117"/>
              <a:gd name="T110" fmla="*/ 0 w 1622"/>
              <a:gd name="T111" fmla="*/ 539150 h 1117"/>
              <a:gd name="T112" fmla="*/ 79703 w 1622"/>
              <a:gd name="T113" fmla="*/ 568399 h 1117"/>
              <a:gd name="T114" fmla="*/ 228656 w 1622"/>
              <a:gd name="T115" fmla="*/ 661995 h 1117"/>
              <a:gd name="T116" fmla="*/ 275693 w 1622"/>
              <a:gd name="T117" fmla="*/ 738041 h 1117"/>
              <a:gd name="T118" fmla="*/ 361929 w 1622"/>
              <a:gd name="T119" fmla="*/ 837486 h 1117"/>
              <a:gd name="T120" fmla="*/ 456005 w 1622"/>
              <a:gd name="T121" fmla="*/ 907683 h 1117"/>
              <a:gd name="T122" fmla="*/ 1216448 w 1622"/>
              <a:gd name="T123" fmla="*/ 919383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22"/>
              <a:gd name="T187" fmla="*/ 0 h 1117"/>
              <a:gd name="T188" fmla="*/ 1622 w 1622"/>
              <a:gd name="T189" fmla="*/ 1117 h 111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solidFill>
            <a:schemeClr val="bg2"/>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69" name="Freeform 1439"/>
          <p:cNvSpPr>
            <a:spLocks/>
          </p:cNvSpPr>
          <p:nvPr/>
        </p:nvSpPr>
        <p:spPr bwMode="auto">
          <a:xfrm>
            <a:off x="1242442" y="3248174"/>
            <a:ext cx="1435100" cy="555625"/>
          </a:xfrm>
          <a:custGeom>
            <a:avLst/>
            <a:gdLst>
              <a:gd name="T0" fmla="*/ 391747 w 1099"/>
              <a:gd name="T1" fmla="*/ 427179 h 571"/>
              <a:gd name="T2" fmla="*/ 454427 w 1099"/>
              <a:gd name="T3" fmla="*/ 421341 h 571"/>
              <a:gd name="T4" fmla="*/ 564116 w 1099"/>
              <a:gd name="T5" fmla="*/ 462210 h 571"/>
              <a:gd name="T6" fmla="*/ 618960 w 1099"/>
              <a:gd name="T7" fmla="*/ 508917 h 571"/>
              <a:gd name="T8" fmla="*/ 689475 w 1099"/>
              <a:gd name="T9" fmla="*/ 538110 h 571"/>
              <a:gd name="T10" fmla="*/ 689475 w 1099"/>
              <a:gd name="T11" fmla="*/ 497240 h 571"/>
              <a:gd name="T12" fmla="*/ 744319 w 1099"/>
              <a:gd name="T13" fmla="*/ 456371 h 571"/>
              <a:gd name="T14" fmla="*/ 869678 w 1099"/>
              <a:gd name="T15" fmla="*/ 462210 h 571"/>
              <a:gd name="T16" fmla="*/ 971533 w 1099"/>
              <a:gd name="T17" fmla="*/ 450533 h 571"/>
              <a:gd name="T18" fmla="*/ 1018542 w 1099"/>
              <a:gd name="T19" fmla="*/ 473887 h 571"/>
              <a:gd name="T20" fmla="*/ 1082527 w 1099"/>
              <a:gd name="T21" fmla="*/ 549787 h 571"/>
              <a:gd name="T22" fmla="*/ 1098197 w 1099"/>
              <a:gd name="T23" fmla="*/ 497240 h 571"/>
              <a:gd name="T24" fmla="*/ 1106032 w 1099"/>
              <a:gd name="T25" fmla="*/ 397987 h 571"/>
              <a:gd name="T26" fmla="*/ 1215721 w 1099"/>
              <a:gd name="T27" fmla="*/ 333764 h 571"/>
              <a:gd name="T28" fmla="*/ 1200052 w 1099"/>
              <a:gd name="T29" fmla="*/ 263703 h 571"/>
              <a:gd name="T30" fmla="*/ 1231391 w 1099"/>
              <a:gd name="T31" fmla="*/ 269541 h 571"/>
              <a:gd name="T32" fmla="*/ 1239226 w 1099"/>
              <a:gd name="T33" fmla="*/ 246188 h 571"/>
              <a:gd name="T34" fmla="*/ 1278401 w 1099"/>
              <a:gd name="T35" fmla="*/ 211157 h 571"/>
              <a:gd name="T36" fmla="*/ 1356751 w 1099"/>
              <a:gd name="T37" fmla="*/ 187803 h 571"/>
              <a:gd name="T38" fmla="*/ 1435100 w 1099"/>
              <a:gd name="T39" fmla="*/ 110930 h 571"/>
              <a:gd name="T40" fmla="*/ 1388090 w 1099"/>
              <a:gd name="T41" fmla="*/ 46708 h 571"/>
              <a:gd name="T42" fmla="*/ 1247061 w 1099"/>
              <a:gd name="T43" fmla="*/ 116769 h 571"/>
              <a:gd name="T44" fmla="*/ 1153042 w 1099"/>
              <a:gd name="T45" fmla="*/ 157638 h 571"/>
              <a:gd name="T46" fmla="*/ 1049882 w 1099"/>
              <a:gd name="T47" fmla="*/ 145961 h 571"/>
              <a:gd name="T48" fmla="*/ 869678 w 1099"/>
              <a:gd name="T49" fmla="*/ 23354 h 571"/>
              <a:gd name="T50" fmla="*/ 736484 w 1099"/>
              <a:gd name="T51" fmla="*/ 0 h 571"/>
              <a:gd name="T52" fmla="*/ 62680 w 1099"/>
              <a:gd name="T53" fmla="*/ 35031 h 571"/>
              <a:gd name="T54" fmla="*/ 47010 w 1099"/>
              <a:gd name="T55" fmla="*/ 23354 h 571"/>
              <a:gd name="T56" fmla="*/ 23505 w 1099"/>
              <a:gd name="T57" fmla="*/ 75900 h 571"/>
              <a:gd name="T58" fmla="*/ 0 w 1099"/>
              <a:gd name="T59" fmla="*/ 169315 h 571"/>
              <a:gd name="T60" fmla="*/ 15670 w 1099"/>
              <a:gd name="T61" fmla="*/ 228672 h 571"/>
              <a:gd name="T62" fmla="*/ 86184 w 1099"/>
              <a:gd name="T63" fmla="*/ 327926 h 571"/>
              <a:gd name="T64" fmla="*/ 180204 w 1099"/>
              <a:gd name="T65" fmla="*/ 392149 h 571"/>
              <a:gd name="T66" fmla="*/ 250718 w 1099"/>
              <a:gd name="T67" fmla="*/ 397987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9"/>
              <a:gd name="T103" fmla="*/ 0 h 571"/>
              <a:gd name="T104" fmla="*/ 1099 w 1099"/>
              <a:gd name="T105" fmla="*/ 571 h 5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solidFill>
            <a:schemeClr val="bg2"/>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70" name="Freeform 1440"/>
          <p:cNvSpPr>
            <a:spLocks/>
          </p:cNvSpPr>
          <p:nvPr/>
        </p:nvSpPr>
        <p:spPr bwMode="auto">
          <a:xfrm>
            <a:off x="2158429" y="4003824"/>
            <a:ext cx="111125" cy="84138"/>
          </a:xfrm>
          <a:custGeom>
            <a:avLst/>
            <a:gdLst/>
            <a:ahLst/>
            <a:cxnLst>
              <a:cxn ang="0">
                <a:pos x="14" y="14"/>
              </a:cxn>
              <a:cxn ang="0">
                <a:pos x="13" y="11"/>
              </a:cxn>
              <a:cxn ang="0">
                <a:pos x="14" y="0"/>
              </a:cxn>
              <a:cxn ang="0">
                <a:pos x="7" y="3"/>
              </a:cxn>
              <a:cxn ang="0">
                <a:pos x="0" y="6"/>
              </a:cxn>
              <a:cxn ang="0">
                <a:pos x="5" y="14"/>
              </a:cxn>
              <a:cxn ang="0">
                <a:pos x="9" y="13"/>
              </a:cxn>
              <a:cxn ang="0">
                <a:pos x="14" y="14"/>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solidFill>
            <a:schemeClr val="accent3"/>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71" name="Freeform 1441"/>
          <p:cNvSpPr>
            <a:spLocks/>
          </p:cNvSpPr>
          <p:nvPr/>
        </p:nvSpPr>
        <p:spPr bwMode="auto">
          <a:xfrm>
            <a:off x="2198117" y="4080024"/>
            <a:ext cx="95250" cy="52388"/>
          </a:xfrm>
          <a:custGeom>
            <a:avLst/>
            <a:gdLst/>
            <a:ahLst/>
            <a:cxnLst>
              <a:cxn ang="0">
                <a:pos x="9" y="1"/>
              </a:cxn>
              <a:cxn ang="0">
                <a:pos x="4" y="0"/>
              </a:cxn>
              <a:cxn ang="0">
                <a:pos x="0" y="1"/>
              </a:cxn>
              <a:cxn ang="0">
                <a:pos x="2" y="3"/>
              </a:cxn>
              <a:cxn ang="0">
                <a:pos x="11" y="9"/>
              </a:cxn>
              <a:cxn ang="0">
                <a:pos x="12" y="5"/>
              </a:cxn>
              <a:cxn ang="0">
                <a:pos x="9" y="1"/>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solidFill>
            <a:schemeClr val="accent3"/>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72" name="Freeform 1442"/>
          <p:cNvSpPr>
            <a:spLocks/>
          </p:cNvSpPr>
          <p:nvPr/>
        </p:nvSpPr>
        <p:spPr bwMode="auto">
          <a:xfrm>
            <a:off x="2285429" y="4110187"/>
            <a:ext cx="141288" cy="46037"/>
          </a:xfrm>
          <a:custGeom>
            <a:avLst/>
            <a:gdLst/>
            <a:ahLst/>
            <a:cxnLst>
              <a:cxn ang="0">
                <a:pos x="14" y="1"/>
              </a:cxn>
              <a:cxn ang="0">
                <a:pos x="9" y="1"/>
              </a:cxn>
              <a:cxn ang="0">
                <a:pos x="2" y="1"/>
              </a:cxn>
              <a:cxn ang="0">
                <a:pos x="1" y="0"/>
              </a:cxn>
              <a:cxn ang="0">
                <a:pos x="0" y="4"/>
              </a:cxn>
              <a:cxn ang="0">
                <a:pos x="4" y="8"/>
              </a:cxn>
              <a:cxn ang="0">
                <a:pos x="6" y="8"/>
              </a:cxn>
              <a:cxn ang="0">
                <a:pos x="7" y="6"/>
              </a:cxn>
              <a:cxn ang="0">
                <a:pos x="10" y="3"/>
              </a:cxn>
              <a:cxn ang="0">
                <a:pos x="14" y="4"/>
              </a:cxn>
              <a:cxn ang="0">
                <a:pos x="15" y="7"/>
              </a:cxn>
              <a:cxn ang="0">
                <a:pos x="18" y="4"/>
              </a:cxn>
              <a:cxn ang="0">
                <a:pos x="14" y="1"/>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solidFill>
            <a:schemeClr val="accent3"/>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73" name="Freeform 1443"/>
          <p:cNvSpPr>
            <a:spLocks/>
          </p:cNvSpPr>
          <p:nvPr/>
        </p:nvSpPr>
        <p:spPr bwMode="auto">
          <a:xfrm>
            <a:off x="2379092" y="4057799"/>
            <a:ext cx="290512" cy="239713"/>
          </a:xfrm>
          <a:custGeom>
            <a:avLst/>
            <a:gdLst/>
            <a:ahLst/>
            <a:cxnLst>
              <a:cxn ang="0">
                <a:pos x="37" y="34"/>
              </a:cxn>
              <a:cxn ang="0">
                <a:pos x="37" y="34"/>
              </a:cxn>
              <a:cxn ang="0">
                <a:pos x="37" y="27"/>
              </a:cxn>
              <a:cxn ang="0">
                <a:pos x="35" y="23"/>
              </a:cxn>
              <a:cxn ang="0">
                <a:pos x="36" y="21"/>
              </a:cxn>
              <a:cxn ang="0">
                <a:pos x="31" y="20"/>
              </a:cxn>
              <a:cxn ang="0">
                <a:pos x="21" y="16"/>
              </a:cxn>
              <a:cxn ang="0">
                <a:pos x="19" y="11"/>
              </a:cxn>
              <a:cxn ang="0">
                <a:pos x="20" y="3"/>
              </a:cxn>
              <a:cxn ang="0">
                <a:pos x="24" y="1"/>
              </a:cxn>
              <a:cxn ang="0">
                <a:pos x="24" y="0"/>
              </a:cxn>
              <a:cxn ang="0">
                <a:pos x="17" y="2"/>
              </a:cxn>
              <a:cxn ang="0">
                <a:pos x="13" y="4"/>
              </a:cxn>
              <a:cxn ang="0">
                <a:pos x="11" y="9"/>
              </a:cxn>
              <a:cxn ang="0">
                <a:pos x="9" y="10"/>
              </a:cxn>
              <a:cxn ang="0">
                <a:pos x="6" y="13"/>
              </a:cxn>
              <a:cxn ang="0">
                <a:pos x="3" y="16"/>
              </a:cxn>
              <a:cxn ang="0">
                <a:pos x="4" y="18"/>
              </a:cxn>
              <a:cxn ang="0">
                <a:pos x="5" y="23"/>
              </a:cxn>
              <a:cxn ang="0">
                <a:pos x="5" y="26"/>
              </a:cxn>
              <a:cxn ang="0">
                <a:pos x="6" y="30"/>
              </a:cxn>
              <a:cxn ang="0">
                <a:pos x="2" y="33"/>
              </a:cxn>
              <a:cxn ang="0">
                <a:pos x="0" y="35"/>
              </a:cxn>
              <a:cxn ang="0">
                <a:pos x="8" y="38"/>
              </a:cxn>
              <a:cxn ang="0">
                <a:pos x="12" y="41"/>
              </a:cxn>
            </a:cxnLst>
            <a:rect l="0" t="0" r="r" b="b"/>
            <a:pathLst>
              <a:path w="37" h="41">
                <a:moveTo>
                  <a:pt x="37" y="34"/>
                </a:moveTo>
                <a:cubicBezTo>
                  <a:pt x="37" y="34"/>
                  <a:pt x="37" y="34"/>
                  <a:pt x="37" y="34"/>
                </a:cubicBezTo>
                <a:cubicBezTo>
                  <a:pt x="37" y="27"/>
                  <a:pt x="37" y="27"/>
                  <a:pt x="37" y="27"/>
                </a:cubicBezTo>
                <a:cubicBezTo>
                  <a:pt x="35" y="23"/>
                  <a:pt x="35" y="23"/>
                  <a:pt x="35" y="23"/>
                </a:cubicBezTo>
                <a:cubicBezTo>
                  <a:pt x="36" y="21"/>
                  <a:pt x="36" y="21"/>
                  <a:pt x="36" y="21"/>
                </a:cubicBezTo>
                <a:cubicBezTo>
                  <a:pt x="31" y="20"/>
                  <a:pt x="31" y="20"/>
                  <a:pt x="31" y="20"/>
                </a:cubicBezTo>
                <a:cubicBezTo>
                  <a:pt x="21" y="16"/>
                  <a:pt x="21" y="16"/>
                  <a:pt x="21" y="16"/>
                </a:cubicBezTo>
                <a:cubicBezTo>
                  <a:pt x="19" y="11"/>
                  <a:pt x="19" y="11"/>
                  <a:pt x="19" y="11"/>
                </a:cubicBezTo>
                <a:cubicBezTo>
                  <a:pt x="20" y="3"/>
                  <a:pt x="20" y="3"/>
                  <a:pt x="20" y="3"/>
                </a:cubicBezTo>
                <a:cubicBezTo>
                  <a:pt x="24" y="1"/>
                  <a:pt x="24" y="1"/>
                  <a:pt x="24" y="1"/>
                </a:cubicBezTo>
                <a:cubicBezTo>
                  <a:pt x="24" y="0"/>
                  <a:pt x="24" y="0"/>
                  <a:pt x="24" y="0"/>
                </a:cubicBezTo>
                <a:cubicBezTo>
                  <a:pt x="17" y="2"/>
                  <a:pt x="17" y="2"/>
                  <a:pt x="17" y="2"/>
                </a:cubicBezTo>
                <a:cubicBezTo>
                  <a:pt x="13" y="4"/>
                  <a:pt x="13" y="4"/>
                  <a:pt x="13" y="4"/>
                </a:cubicBezTo>
                <a:cubicBezTo>
                  <a:pt x="11" y="9"/>
                  <a:pt x="11" y="9"/>
                  <a:pt x="11" y="9"/>
                </a:cubicBezTo>
                <a:cubicBezTo>
                  <a:pt x="9" y="10"/>
                  <a:pt x="9" y="10"/>
                  <a:pt x="9" y="10"/>
                </a:cubicBezTo>
                <a:cubicBezTo>
                  <a:pt x="6" y="13"/>
                  <a:pt x="6" y="13"/>
                  <a:pt x="6" y="13"/>
                </a:cubicBezTo>
                <a:cubicBezTo>
                  <a:pt x="3" y="16"/>
                  <a:pt x="3" y="16"/>
                  <a:pt x="3" y="16"/>
                </a:cubicBezTo>
                <a:cubicBezTo>
                  <a:pt x="4" y="18"/>
                  <a:pt x="4" y="18"/>
                  <a:pt x="4" y="18"/>
                </a:cubicBezTo>
                <a:cubicBezTo>
                  <a:pt x="5" y="23"/>
                  <a:pt x="5" y="23"/>
                  <a:pt x="5" y="23"/>
                </a:cubicBezTo>
                <a:cubicBezTo>
                  <a:pt x="5" y="26"/>
                  <a:pt x="5" y="26"/>
                  <a:pt x="5" y="26"/>
                </a:cubicBezTo>
                <a:cubicBezTo>
                  <a:pt x="6" y="30"/>
                  <a:pt x="6" y="30"/>
                  <a:pt x="6" y="30"/>
                </a:cubicBezTo>
                <a:cubicBezTo>
                  <a:pt x="2" y="33"/>
                  <a:pt x="2" y="33"/>
                  <a:pt x="2" y="33"/>
                </a:cubicBezTo>
                <a:cubicBezTo>
                  <a:pt x="0" y="35"/>
                  <a:pt x="0" y="35"/>
                  <a:pt x="0" y="35"/>
                </a:cubicBezTo>
                <a:cubicBezTo>
                  <a:pt x="8" y="38"/>
                  <a:pt x="8" y="38"/>
                  <a:pt x="8" y="38"/>
                </a:cubicBezTo>
                <a:cubicBezTo>
                  <a:pt x="12" y="41"/>
                  <a:pt x="12" y="41"/>
                  <a:pt x="12" y="41"/>
                </a:cubicBezTo>
              </a:path>
            </a:pathLst>
          </a:custGeom>
          <a:solidFill>
            <a:schemeClr val="accent4">
              <a:lumMod val="50000"/>
              <a:lumOff val="50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74" name="Freeform 1444"/>
          <p:cNvSpPr>
            <a:spLocks/>
          </p:cNvSpPr>
          <p:nvPr/>
        </p:nvSpPr>
        <p:spPr bwMode="auto">
          <a:xfrm>
            <a:off x="2474342" y="4256237"/>
            <a:ext cx="195262" cy="104775"/>
          </a:xfrm>
          <a:custGeom>
            <a:avLst/>
            <a:gdLst>
              <a:gd name="T0" fmla="*/ 0 w 150"/>
              <a:gd name="T1" fmla="*/ 40746 h 108"/>
              <a:gd name="T2" fmla="*/ 0 w 150"/>
              <a:gd name="T3" fmla="*/ 40746 h 108"/>
              <a:gd name="T4" fmla="*/ 39052 w 150"/>
              <a:gd name="T5" fmla="*/ 58208 h 108"/>
              <a:gd name="T6" fmla="*/ 62484 w 150"/>
              <a:gd name="T7" fmla="*/ 75671 h 108"/>
              <a:gd name="T8" fmla="*/ 93726 w 150"/>
              <a:gd name="T9" fmla="*/ 75671 h 108"/>
              <a:gd name="T10" fmla="*/ 109347 w 150"/>
              <a:gd name="T11" fmla="*/ 93133 h 108"/>
              <a:gd name="T12" fmla="*/ 117157 w 150"/>
              <a:gd name="T13" fmla="*/ 87313 h 108"/>
              <a:gd name="T14" fmla="*/ 109347 w 150"/>
              <a:gd name="T15" fmla="*/ 93133 h 108"/>
              <a:gd name="T16" fmla="*/ 124968 w 150"/>
              <a:gd name="T17" fmla="*/ 104775 h 108"/>
              <a:gd name="T18" fmla="*/ 140589 w 150"/>
              <a:gd name="T19" fmla="*/ 40746 h 108"/>
              <a:gd name="T20" fmla="*/ 132778 w 150"/>
              <a:gd name="T21" fmla="*/ 11642 h 108"/>
              <a:gd name="T22" fmla="*/ 195262 w 150"/>
              <a:gd name="T23" fmla="*/ 0 h 108"/>
              <a:gd name="T24" fmla="*/ 0 w 150"/>
              <a:gd name="T25" fmla="*/ 40746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0"/>
              <a:gd name="T40" fmla="*/ 0 h 108"/>
              <a:gd name="T41" fmla="*/ 150 w 150"/>
              <a:gd name="T42" fmla="*/ 108 h 10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0" h="108">
                <a:moveTo>
                  <a:pt x="0" y="42"/>
                </a:moveTo>
                <a:lnTo>
                  <a:pt x="0" y="42"/>
                </a:lnTo>
                <a:lnTo>
                  <a:pt x="30" y="60"/>
                </a:lnTo>
                <a:lnTo>
                  <a:pt x="48" y="78"/>
                </a:lnTo>
                <a:lnTo>
                  <a:pt x="72" y="78"/>
                </a:lnTo>
                <a:lnTo>
                  <a:pt x="84" y="96"/>
                </a:lnTo>
                <a:lnTo>
                  <a:pt x="90" y="90"/>
                </a:lnTo>
                <a:lnTo>
                  <a:pt x="84" y="96"/>
                </a:lnTo>
                <a:lnTo>
                  <a:pt x="96" y="108"/>
                </a:lnTo>
                <a:lnTo>
                  <a:pt x="108" y="42"/>
                </a:lnTo>
                <a:lnTo>
                  <a:pt x="102" y="12"/>
                </a:lnTo>
                <a:lnTo>
                  <a:pt x="150" y="0"/>
                </a:lnTo>
                <a:lnTo>
                  <a:pt x="0" y="42"/>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75" name="Freeform 1445"/>
          <p:cNvSpPr>
            <a:spLocks/>
          </p:cNvSpPr>
          <p:nvPr/>
        </p:nvSpPr>
        <p:spPr bwMode="auto">
          <a:xfrm>
            <a:off x="2474342" y="4256237"/>
            <a:ext cx="195262" cy="104775"/>
          </a:xfrm>
          <a:custGeom>
            <a:avLst/>
            <a:gdLst/>
            <a:ahLst/>
            <a:cxnLst>
              <a:cxn ang="0">
                <a:pos x="0" y="42"/>
              </a:cxn>
              <a:cxn ang="0">
                <a:pos x="0" y="42"/>
              </a:cxn>
              <a:cxn ang="0">
                <a:pos x="30" y="60"/>
              </a:cxn>
              <a:cxn ang="0">
                <a:pos x="48" y="78"/>
              </a:cxn>
              <a:cxn ang="0">
                <a:pos x="72" y="78"/>
              </a:cxn>
              <a:cxn ang="0">
                <a:pos x="84" y="96"/>
              </a:cxn>
              <a:cxn ang="0">
                <a:pos x="90" y="90"/>
              </a:cxn>
              <a:cxn ang="0">
                <a:pos x="84" y="96"/>
              </a:cxn>
              <a:cxn ang="0">
                <a:pos x="96" y="108"/>
              </a:cxn>
              <a:cxn ang="0">
                <a:pos x="108" y="42"/>
              </a:cxn>
              <a:cxn ang="0">
                <a:pos x="102" y="12"/>
              </a:cxn>
              <a:cxn ang="0">
                <a:pos x="150" y="0"/>
              </a:cxn>
            </a:cxnLst>
            <a:rect l="0" t="0" r="r" b="b"/>
            <a:pathLst>
              <a:path w="150" h="108">
                <a:moveTo>
                  <a:pt x="0" y="42"/>
                </a:moveTo>
                <a:lnTo>
                  <a:pt x="0" y="42"/>
                </a:lnTo>
                <a:lnTo>
                  <a:pt x="30" y="60"/>
                </a:lnTo>
                <a:lnTo>
                  <a:pt x="48" y="78"/>
                </a:lnTo>
                <a:lnTo>
                  <a:pt x="72" y="78"/>
                </a:lnTo>
                <a:lnTo>
                  <a:pt x="84" y="96"/>
                </a:lnTo>
                <a:lnTo>
                  <a:pt x="90" y="90"/>
                </a:lnTo>
                <a:lnTo>
                  <a:pt x="84" y="96"/>
                </a:lnTo>
                <a:lnTo>
                  <a:pt x="96" y="108"/>
                </a:lnTo>
                <a:lnTo>
                  <a:pt x="108" y="42"/>
                </a:lnTo>
                <a:lnTo>
                  <a:pt x="102" y="12"/>
                </a:lnTo>
                <a:lnTo>
                  <a:pt x="150" y="0"/>
                </a:lnTo>
              </a:path>
            </a:pathLst>
          </a:custGeom>
          <a:solidFill>
            <a:schemeClr val="accent4">
              <a:lumMod val="50000"/>
              <a:lumOff val="50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76" name="Freeform 1446"/>
          <p:cNvSpPr>
            <a:spLocks/>
          </p:cNvSpPr>
          <p:nvPr/>
        </p:nvSpPr>
        <p:spPr bwMode="auto">
          <a:xfrm>
            <a:off x="2818829" y="4126062"/>
            <a:ext cx="117475" cy="134937"/>
          </a:xfrm>
          <a:custGeom>
            <a:avLst/>
            <a:gdLst>
              <a:gd name="T0" fmla="*/ 117475 w 90"/>
              <a:gd name="T1" fmla="*/ 123203 h 138"/>
              <a:gd name="T2" fmla="*/ 101812 w 90"/>
              <a:gd name="T3" fmla="*/ 99736 h 138"/>
              <a:gd name="T4" fmla="*/ 86148 w 90"/>
              <a:gd name="T5" fmla="*/ 76269 h 138"/>
              <a:gd name="T6" fmla="*/ 109643 w 90"/>
              <a:gd name="T7" fmla="*/ 58668 h 138"/>
              <a:gd name="T8" fmla="*/ 117475 w 90"/>
              <a:gd name="T9" fmla="*/ 41068 h 138"/>
              <a:gd name="T10" fmla="*/ 86148 w 90"/>
              <a:gd name="T11" fmla="*/ 35201 h 138"/>
              <a:gd name="T12" fmla="*/ 78317 w 90"/>
              <a:gd name="T13" fmla="*/ 17600 h 138"/>
              <a:gd name="T14" fmla="*/ 46990 w 90"/>
              <a:gd name="T15" fmla="*/ 0 h 138"/>
              <a:gd name="T16" fmla="*/ 15663 w 90"/>
              <a:gd name="T17" fmla="*/ 23467 h 138"/>
              <a:gd name="T18" fmla="*/ 0 w 90"/>
              <a:gd name="T19" fmla="*/ 41068 h 138"/>
              <a:gd name="T20" fmla="*/ 7832 w 90"/>
              <a:gd name="T21" fmla="*/ 58668 h 138"/>
              <a:gd name="T22" fmla="*/ 23495 w 90"/>
              <a:gd name="T23" fmla="*/ 64535 h 138"/>
              <a:gd name="T24" fmla="*/ 39158 w 90"/>
              <a:gd name="T25" fmla="*/ 82136 h 138"/>
              <a:gd name="T26" fmla="*/ 31327 w 90"/>
              <a:gd name="T27" fmla="*/ 117336 h 138"/>
              <a:gd name="T28" fmla="*/ 54822 w 90"/>
              <a:gd name="T29" fmla="*/ 134937 h 138"/>
              <a:gd name="T30" fmla="*/ 78317 w 90"/>
              <a:gd name="T31" fmla="*/ 129070 h 138"/>
              <a:gd name="T32" fmla="*/ 117475 w 90"/>
              <a:gd name="T33" fmla="*/ 123203 h 138"/>
              <a:gd name="T34" fmla="*/ 117475 w 90"/>
              <a:gd name="T35" fmla="*/ 123203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38"/>
              <a:gd name="T56" fmla="*/ 90 w 90"/>
              <a:gd name="T57" fmla="*/ 138 h 1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77" name="Freeform 1447"/>
          <p:cNvSpPr>
            <a:spLocks/>
          </p:cNvSpPr>
          <p:nvPr/>
        </p:nvSpPr>
        <p:spPr bwMode="auto">
          <a:xfrm>
            <a:off x="2818829" y="4126062"/>
            <a:ext cx="117475" cy="134937"/>
          </a:xfrm>
          <a:custGeom>
            <a:avLst/>
            <a:gdLst/>
            <a:ahLst/>
            <a:cxnLst>
              <a:cxn ang="0">
                <a:pos x="90" y="126"/>
              </a:cxn>
              <a:cxn ang="0">
                <a:pos x="78" y="102"/>
              </a:cxn>
              <a:cxn ang="0">
                <a:pos x="66" y="78"/>
              </a:cxn>
              <a:cxn ang="0">
                <a:pos x="84" y="60"/>
              </a:cxn>
              <a:cxn ang="0">
                <a:pos x="90" y="42"/>
              </a:cxn>
              <a:cxn ang="0">
                <a:pos x="66" y="36"/>
              </a:cxn>
              <a:cxn ang="0">
                <a:pos x="60" y="18"/>
              </a:cxn>
              <a:cxn ang="0">
                <a:pos x="36" y="0"/>
              </a:cxn>
              <a:cxn ang="0">
                <a:pos x="12" y="24"/>
              </a:cxn>
              <a:cxn ang="0">
                <a:pos x="0" y="42"/>
              </a:cxn>
              <a:cxn ang="0">
                <a:pos x="6" y="60"/>
              </a:cxn>
              <a:cxn ang="0">
                <a:pos x="18" y="66"/>
              </a:cxn>
              <a:cxn ang="0">
                <a:pos x="30" y="84"/>
              </a:cxn>
              <a:cxn ang="0">
                <a:pos x="24" y="120"/>
              </a:cxn>
              <a:cxn ang="0">
                <a:pos x="42" y="138"/>
              </a:cxn>
              <a:cxn ang="0">
                <a:pos x="60" y="132"/>
              </a:cxn>
              <a:cxn ang="0">
                <a:pos x="90" y="126"/>
              </a:cxn>
              <a:cxn ang="0">
                <a:pos x="90" y="126"/>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lnTo>
                  <a:pt x="90" y="126"/>
                </a:lnTo>
              </a:path>
            </a:pathLst>
          </a:custGeom>
          <a:solidFill>
            <a:schemeClr val="accent2">
              <a:lumMod val="40000"/>
              <a:lumOff val="60000"/>
            </a:schemeClr>
          </a:solidFill>
          <a:ln w="9525" cap="flat" cmpd="sng">
            <a:solidFill>
              <a:schemeClr val="bg1"/>
            </a:solidFill>
            <a:prstDash val="solid"/>
            <a:round/>
            <a:headEnd type="none" w="med" len="med"/>
            <a:tailEnd type="none" w="med" len="med"/>
          </a:ln>
          <a:effectLst/>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78" name="Freeform 1448"/>
          <p:cNvSpPr>
            <a:spLocks/>
          </p:cNvSpPr>
          <p:nvPr/>
        </p:nvSpPr>
        <p:spPr bwMode="auto">
          <a:xfrm>
            <a:off x="2993454" y="4180037"/>
            <a:ext cx="76200" cy="71437"/>
          </a:xfrm>
          <a:custGeom>
            <a:avLst/>
            <a:gdLst/>
            <a:ahLst/>
            <a:cxnLst>
              <a:cxn ang="0">
                <a:pos x="6" y="42"/>
              </a:cxn>
              <a:cxn ang="0">
                <a:pos x="6" y="66"/>
              </a:cxn>
              <a:cxn ang="0">
                <a:pos x="12" y="72"/>
              </a:cxn>
              <a:cxn ang="0">
                <a:pos x="36" y="60"/>
              </a:cxn>
              <a:cxn ang="0">
                <a:pos x="60" y="24"/>
              </a:cxn>
              <a:cxn ang="0">
                <a:pos x="18" y="0"/>
              </a:cxn>
              <a:cxn ang="0">
                <a:pos x="6" y="0"/>
              </a:cxn>
              <a:cxn ang="0">
                <a:pos x="0" y="18"/>
              </a:cxn>
              <a:cxn ang="0">
                <a:pos x="6" y="42"/>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solidFill>
            <a:schemeClr val="accent2">
              <a:lumMod val="40000"/>
              <a:lumOff val="60000"/>
            </a:schemeClr>
          </a:solidFill>
          <a:ln w="9525" cap="flat" cmpd="sng">
            <a:solidFill>
              <a:schemeClr val="bg1"/>
            </a:solidFill>
            <a:prstDash val="solid"/>
            <a:round/>
            <a:headEnd type="none" w="med" len="med"/>
            <a:tailEnd type="none" w="med" len="med"/>
          </a:ln>
          <a:effectLst/>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79" name="Freeform 1449"/>
          <p:cNvSpPr>
            <a:spLocks/>
          </p:cNvSpPr>
          <p:nvPr/>
        </p:nvSpPr>
        <p:spPr bwMode="auto">
          <a:xfrm>
            <a:off x="2521967" y="4702324"/>
            <a:ext cx="484187" cy="754063"/>
          </a:xfrm>
          <a:custGeom>
            <a:avLst/>
            <a:gdLst/>
            <a:ahLst/>
            <a:cxnLst>
              <a:cxn ang="0">
                <a:pos x="47" y="37"/>
              </a:cxn>
              <a:cxn ang="0">
                <a:pos x="48" y="32"/>
              </a:cxn>
              <a:cxn ang="0">
                <a:pos x="50" y="29"/>
              </a:cxn>
              <a:cxn ang="0">
                <a:pos x="50" y="29"/>
              </a:cxn>
              <a:cxn ang="0">
                <a:pos x="57" y="22"/>
              </a:cxn>
              <a:cxn ang="0">
                <a:pos x="60" y="20"/>
              </a:cxn>
              <a:cxn ang="0">
                <a:pos x="62" y="14"/>
              </a:cxn>
              <a:cxn ang="0">
                <a:pos x="61" y="13"/>
              </a:cxn>
              <a:cxn ang="0">
                <a:pos x="58" y="15"/>
              </a:cxn>
              <a:cxn ang="0">
                <a:pos x="52" y="18"/>
              </a:cxn>
              <a:cxn ang="0">
                <a:pos x="47" y="17"/>
              </a:cxn>
              <a:cxn ang="0">
                <a:pos x="48" y="10"/>
              </a:cxn>
              <a:cxn ang="0">
                <a:pos x="45" y="8"/>
              </a:cxn>
              <a:cxn ang="0">
                <a:pos x="39" y="6"/>
              </a:cxn>
              <a:cxn ang="0">
                <a:pos x="36" y="4"/>
              </a:cxn>
              <a:cxn ang="0">
                <a:pos x="33" y="0"/>
              </a:cxn>
              <a:cxn ang="0">
                <a:pos x="33" y="0"/>
              </a:cxn>
              <a:cxn ang="0">
                <a:pos x="29" y="1"/>
              </a:cxn>
              <a:cxn ang="0">
                <a:pos x="28" y="2"/>
              </a:cxn>
              <a:cxn ang="0">
                <a:pos x="23" y="1"/>
              </a:cxn>
              <a:cxn ang="0">
                <a:pos x="21" y="1"/>
              </a:cxn>
              <a:cxn ang="0">
                <a:pos x="19" y="2"/>
              </a:cxn>
              <a:cxn ang="0">
                <a:pos x="20" y="3"/>
              </a:cxn>
              <a:cxn ang="0">
                <a:pos x="19" y="7"/>
              </a:cxn>
              <a:cxn ang="0">
                <a:pos x="16" y="10"/>
              </a:cxn>
              <a:cxn ang="0">
                <a:pos x="16" y="16"/>
              </a:cxn>
              <a:cxn ang="0">
                <a:pos x="14" y="20"/>
              </a:cxn>
              <a:cxn ang="0">
                <a:pos x="11" y="33"/>
              </a:cxn>
              <a:cxn ang="0">
                <a:pos x="12" y="43"/>
              </a:cxn>
              <a:cxn ang="0">
                <a:pos x="6" y="56"/>
              </a:cxn>
              <a:cxn ang="0">
                <a:pos x="5" y="70"/>
              </a:cxn>
              <a:cxn ang="0">
                <a:pos x="5" y="77"/>
              </a:cxn>
              <a:cxn ang="0">
                <a:pos x="4" y="84"/>
              </a:cxn>
              <a:cxn ang="0">
                <a:pos x="6" y="88"/>
              </a:cxn>
              <a:cxn ang="0">
                <a:pos x="3" y="104"/>
              </a:cxn>
              <a:cxn ang="0">
                <a:pos x="0" y="111"/>
              </a:cxn>
              <a:cxn ang="0">
                <a:pos x="1" y="116"/>
              </a:cxn>
              <a:cxn ang="0">
                <a:pos x="4" y="122"/>
              </a:cxn>
              <a:cxn ang="0">
                <a:pos x="20" y="129"/>
              </a:cxn>
              <a:cxn ang="0">
                <a:pos x="16" y="125"/>
              </a:cxn>
              <a:cxn ang="0">
                <a:pos x="14" y="118"/>
              </a:cxn>
              <a:cxn ang="0">
                <a:pos x="16" y="113"/>
              </a:cxn>
              <a:cxn ang="0">
                <a:pos x="19" y="107"/>
              </a:cxn>
              <a:cxn ang="0">
                <a:pos x="22" y="104"/>
              </a:cxn>
              <a:cxn ang="0">
                <a:pos x="24" y="99"/>
              </a:cxn>
              <a:cxn ang="0">
                <a:pos x="21" y="97"/>
              </a:cxn>
              <a:cxn ang="0">
                <a:pos x="19" y="93"/>
              </a:cxn>
              <a:cxn ang="0">
                <a:pos x="24" y="87"/>
              </a:cxn>
              <a:cxn ang="0">
                <a:pos x="27" y="83"/>
              </a:cxn>
              <a:cxn ang="0">
                <a:pos x="30" y="77"/>
              </a:cxn>
              <a:cxn ang="0">
                <a:pos x="28" y="74"/>
              </a:cxn>
              <a:cxn ang="0">
                <a:pos x="28" y="72"/>
              </a:cxn>
              <a:cxn ang="0">
                <a:pos x="34" y="70"/>
              </a:cxn>
              <a:cxn ang="0">
                <a:pos x="36" y="66"/>
              </a:cxn>
              <a:cxn ang="0">
                <a:pos x="37" y="62"/>
              </a:cxn>
              <a:cxn ang="0">
                <a:pos x="47" y="59"/>
              </a:cxn>
              <a:cxn ang="0">
                <a:pos x="51" y="56"/>
              </a:cxn>
              <a:cxn ang="0">
                <a:pos x="53" y="51"/>
              </a:cxn>
              <a:cxn ang="0">
                <a:pos x="51" y="47"/>
              </a:cxn>
              <a:cxn ang="0">
                <a:pos x="48" y="44"/>
              </a:cxn>
              <a:cxn ang="0">
                <a:pos x="51" y="45"/>
              </a:cxn>
              <a:cxn ang="0">
                <a:pos x="47" y="42"/>
              </a:cxn>
              <a:cxn ang="0">
                <a:pos x="47" y="37"/>
              </a:cxn>
            </a:cxnLst>
            <a:rect l="0" t="0" r="r" b="b"/>
            <a:pathLst>
              <a:path w="62" h="129">
                <a:moveTo>
                  <a:pt x="47" y="37"/>
                </a:moveTo>
                <a:cubicBezTo>
                  <a:pt x="48" y="32"/>
                  <a:pt x="48" y="32"/>
                  <a:pt x="48" y="32"/>
                </a:cubicBezTo>
                <a:cubicBezTo>
                  <a:pt x="50" y="29"/>
                  <a:pt x="50" y="29"/>
                  <a:pt x="50" y="29"/>
                </a:cubicBezTo>
                <a:cubicBezTo>
                  <a:pt x="50" y="29"/>
                  <a:pt x="50" y="29"/>
                  <a:pt x="50" y="29"/>
                </a:cubicBezTo>
                <a:cubicBezTo>
                  <a:pt x="57" y="22"/>
                  <a:pt x="57" y="22"/>
                  <a:pt x="57" y="22"/>
                </a:cubicBezTo>
                <a:cubicBezTo>
                  <a:pt x="60" y="20"/>
                  <a:pt x="60" y="20"/>
                  <a:pt x="60" y="20"/>
                </a:cubicBezTo>
                <a:cubicBezTo>
                  <a:pt x="62" y="14"/>
                  <a:pt x="62" y="14"/>
                  <a:pt x="62" y="14"/>
                </a:cubicBezTo>
                <a:cubicBezTo>
                  <a:pt x="61" y="13"/>
                  <a:pt x="61" y="13"/>
                  <a:pt x="61" y="13"/>
                </a:cubicBezTo>
                <a:cubicBezTo>
                  <a:pt x="58" y="15"/>
                  <a:pt x="58" y="15"/>
                  <a:pt x="58" y="15"/>
                </a:cubicBezTo>
                <a:cubicBezTo>
                  <a:pt x="52" y="18"/>
                  <a:pt x="52" y="18"/>
                  <a:pt x="52" y="18"/>
                </a:cubicBezTo>
                <a:cubicBezTo>
                  <a:pt x="47" y="17"/>
                  <a:pt x="47" y="17"/>
                  <a:pt x="47" y="17"/>
                </a:cubicBezTo>
                <a:cubicBezTo>
                  <a:pt x="48" y="10"/>
                  <a:pt x="48" y="10"/>
                  <a:pt x="48" y="10"/>
                </a:cubicBezTo>
                <a:cubicBezTo>
                  <a:pt x="45" y="8"/>
                  <a:pt x="45" y="8"/>
                  <a:pt x="45" y="8"/>
                </a:cubicBezTo>
                <a:cubicBezTo>
                  <a:pt x="39" y="6"/>
                  <a:pt x="39" y="6"/>
                  <a:pt x="39" y="6"/>
                </a:cubicBezTo>
                <a:cubicBezTo>
                  <a:pt x="36" y="4"/>
                  <a:pt x="36" y="4"/>
                  <a:pt x="36" y="4"/>
                </a:cubicBezTo>
                <a:cubicBezTo>
                  <a:pt x="33" y="0"/>
                  <a:pt x="33" y="0"/>
                  <a:pt x="33" y="0"/>
                </a:cubicBezTo>
                <a:cubicBezTo>
                  <a:pt x="33" y="0"/>
                  <a:pt x="33" y="0"/>
                  <a:pt x="33" y="0"/>
                </a:cubicBezTo>
                <a:cubicBezTo>
                  <a:pt x="29" y="1"/>
                  <a:pt x="29" y="1"/>
                  <a:pt x="29" y="1"/>
                </a:cubicBezTo>
                <a:cubicBezTo>
                  <a:pt x="28" y="2"/>
                  <a:pt x="28" y="2"/>
                  <a:pt x="28" y="2"/>
                </a:cubicBezTo>
                <a:cubicBezTo>
                  <a:pt x="23" y="1"/>
                  <a:pt x="23" y="1"/>
                  <a:pt x="23" y="1"/>
                </a:cubicBezTo>
                <a:cubicBezTo>
                  <a:pt x="21" y="1"/>
                  <a:pt x="21" y="1"/>
                  <a:pt x="21" y="1"/>
                </a:cubicBezTo>
                <a:cubicBezTo>
                  <a:pt x="19" y="2"/>
                  <a:pt x="19" y="2"/>
                  <a:pt x="19" y="2"/>
                </a:cubicBezTo>
                <a:cubicBezTo>
                  <a:pt x="20" y="3"/>
                  <a:pt x="20" y="3"/>
                  <a:pt x="20" y="3"/>
                </a:cubicBezTo>
                <a:cubicBezTo>
                  <a:pt x="19" y="7"/>
                  <a:pt x="19" y="7"/>
                  <a:pt x="19" y="7"/>
                </a:cubicBezTo>
                <a:cubicBezTo>
                  <a:pt x="16" y="10"/>
                  <a:pt x="16" y="10"/>
                  <a:pt x="16" y="10"/>
                </a:cubicBezTo>
                <a:cubicBezTo>
                  <a:pt x="16" y="16"/>
                  <a:pt x="16" y="16"/>
                  <a:pt x="16" y="16"/>
                </a:cubicBezTo>
                <a:cubicBezTo>
                  <a:pt x="14" y="20"/>
                  <a:pt x="14" y="20"/>
                  <a:pt x="14" y="20"/>
                </a:cubicBezTo>
                <a:cubicBezTo>
                  <a:pt x="11" y="33"/>
                  <a:pt x="11" y="33"/>
                  <a:pt x="11" y="33"/>
                </a:cubicBezTo>
                <a:cubicBezTo>
                  <a:pt x="12" y="43"/>
                  <a:pt x="12" y="43"/>
                  <a:pt x="12" y="43"/>
                </a:cubicBezTo>
                <a:cubicBezTo>
                  <a:pt x="6" y="56"/>
                  <a:pt x="6" y="56"/>
                  <a:pt x="6" y="56"/>
                </a:cubicBezTo>
                <a:cubicBezTo>
                  <a:pt x="5" y="70"/>
                  <a:pt x="5" y="70"/>
                  <a:pt x="5" y="70"/>
                </a:cubicBezTo>
                <a:cubicBezTo>
                  <a:pt x="5" y="77"/>
                  <a:pt x="5" y="77"/>
                  <a:pt x="5" y="77"/>
                </a:cubicBezTo>
                <a:cubicBezTo>
                  <a:pt x="4" y="84"/>
                  <a:pt x="4" y="84"/>
                  <a:pt x="4" y="84"/>
                </a:cubicBezTo>
                <a:cubicBezTo>
                  <a:pt x="6" y="88"/>
                  <a:pt x="6" y="88"/>
                  <a:pt x="6" y="88"/>
                </a:cubicBezTo>
                <a:cubicBezTo>
                  <a:pt x="3" y="104"/>
                  <a:pt x="3" y="104"/>
                  <a:pt x="3" y="104"/>
                </a:cubicBezTo>
                <a:cubicBezTo>
                  <a:pt x="0" y="111"/>
                  <a:pt x="0" y="111"/>
                  <a:pt x="0" y="111"/>
                </a:cubicBezTo>
                <a:cubicBezTo>
                  <a:pt x="1" y="116"/>
                  <a:pt x="1" y="116"/>
                  <a:pt x="1" y="116"/>
                </a:cubicBezTo>
                <a:cubicBezTo>
                  <a:pt x="4" y="122"/>
                  <a:pt x="4" y="122"/>
                  <a:pt x="4" y="122"/>
                </a:cubicBezTo>
                <a:cubicBezTo>
                  <a:pt x="20" y="129"/>
                  <a:pt x="20" y="129"/>
                  <a:pt x="20" y="129"/>
                </a:cubicBezTo>
                <a:cubicBezTo>
                  <a:pt x="16" y="125"/>
                  <a:pt x="16" y="125"/>
                  <a:pt x="16" y="125"/>
                </a:cubicBezTo>
                <a:cubicBezTo>
                  <a:pt x="14" y="118"/>
                  <a:pt x="14" y="118"/>
                  <a:pt x="14" y="118"/>
                </a:cubicBezTo>
                <a:cubicBezTo>
                  <a:pt x="16" y="113"/>
                  <a:pt x="16" y="113"/>
                  <a:pt x="16" y="113"/>
                </a:cubicBezTo>
                <a:cubicBezTo>
                  <a:pt x="19" y="107"/>
                  <a:pt x="19" y="107"/>
                  <a:pt x="19" y="107"/>
                </a:cubicBezTo>
                <a:cubicBezTo>
                  <a:pt x="22" y="104"/>
                  <a:pt x="22" y="104"/>
                  <a:pt x="22" y="104"/>
                </a:cubicBezTo>
                <a:cubicBezTo>
                  <a:pt x="24" y="99"/>
                  <a:pt x="24" y="99"/>
                  <a:pt x="24" y="99"/>
                </a:cubicBezTo>
                <a:cubicBezTo>
                  <a:pt x="21" y="97"/>
                  <a:pt x="21" y="97"/>
                  <a:pt x="21" y="97"/>
                </a:cubicBezTo>
                <a:cubicBezTo>
                  <a:pt x="19" y="93"/>
                  <a:pt x="19" y="93"/>
                  <a:pt x="19" y="93"/>
                </a:cubicBezTo>
                <a:cubicBezTo>
                  <a:pt x="24" y="87"/>
                  <a:pt x="24" y="87"/>
                  <a:pt x="24" y="87"/>
                </a:cubicBezTo>
                <a:cubicBezTo>
                  <a:pt x="27" y="83"/>
                  <a:pt x="27" y="83"/>
                  <a:pt x="27" y="83"/>
                </a:cubicBezTo>
                <a:cubicBezTo>
                  <a:pt x="27" y="83"/>
                  <a:pt x="28" y="81"/>
                  <a:pt x="30" y="77"/>
                </a:cubicBezTo>
                <a:cubicBezTo>
                  <a:pt x="33" y="73"/>
                  <a:pt x="28" y="74"/>
                  <a:pt x="28" y="74"/>
                </a:cubicBezTo>
                <a:cubicBezTo>
                  <a:pt x="28" y="72"/>
                  <a:pt x="28" y="72"/>
                  <a:pt x="28" y="72"/>
                </a:cubicBezTo>
                <a:cubicBezTo>
                  <a:pt x="34" y="70"/>
                  <a:pt x="34" y="70"/>
                  <a:pt x="34" y="70"/>
                </a:cubicBezTo>
                <a:cubicBezTo>
                  <a:pt x="36" y="66"/>
                  <a:pt x="36" y="66"/>
                  <a:pt x="36" y="66"/>
                </a:cubicBezTo>
                <a:cubicBezTo>
                  <a:pt x="37" y="62"/>
                  <a:pt x="37" y="62"/>
                  <a:pt x="37" y="62"/>
                </a:cubicBezTo>
                <a:cubicBezTo>
                  <a:pt x="37" y="62"/>
                  <a:pt x="42" y="60"/>
                  <a:pt x="47" y="59"/>
                </a:cubicBezTo>
                <a:cubicBezTo>
                  <a:pt x="52" y="58"/>
                  <a:pt x="51" y="56"/>
                  <a:pt x="51" y="56"/>
                </a:cubicBezTo>
                <a:cubicBezTo>
                  <a:pt x="53" y="51"/>
                  <a:pt x="53" y="51"/>
                  <a:pt x="53" y="51"/>
                </a:cubicBezTo>
                <a:cubicBezTo>
                  <a:pt x="51" y="47"/>
                  <a:pt x="51" y="47"/>
                  <a:pt x="51" y="47"/>
                </a:cubicBezTo>
                <a:cubicBezTo>
                  <a:pt x="48" y="44"/>
                  <a:pt x="48" y="44"/>
                  <a:pt x="48" y="44"/>
                </a:cubicBezTo>
                <a:cubicBezTo>
                  <a:pt x="51" y="45"/>
                  <a:pt x="51" y="45"/>
                  <a:pt x="51" y="45"/>
                </a:cubicBezTo>
                <a:cubicBezTo>
                  <a:pt x="47" y="42"/>
                  <a:pt x="47" y="42"/>
                  <a:pt x="47" y="42"/>
                </a:cubicBezTo>
                <a:lnTo>
                  <a:pt x="47" y="37"/>
                </a:lnTo>
                <a:close/>
              </a:path>
            </a:pathLst>
          </a:custGeom>
          <a:solidFill>
            <a:schemeClr val="accent4">
              <a:lumMod val="50000"/>
              <a:lumOff val="50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80" name="Freeform 1450"/>
          <p:cNvSpPr>
            <a:spLocks/>
          </p:cNvSpPr>
          <p:nvPr/>
        </p:nvSpPr>
        <p:spPr bwMode="auto">
          <a:xfrm>
            <a:off x="2779142" y="4653112"/>
            <a:ext cx="222250" cy="155575"/>
          </a:xfrm>
          <a:custGeom>
            <a:avLst/>
            <a:gdLst/>
            <a:ahLst/>
            <a:cxnLst>
              <a:cxn ang="0">
                <a:pos x="48" y="0"/>
              </a:cxn>
              <a:cxn ang="0">
                <a:pos x="0" y="36"/>
              </a:cxn>
              <a:cxn ang="0">
                <a:pos x="0" y="48"/>
              </a:cxn>
              <a:cxn ang="0">
                <a:pos x="18" y="72"/>
              </a:cxn>
              <a:cxn ang="0">
                <a:pos x="36" y="84"/>
              </a:cxn>
              <a:cxn ang="0">
                <a:pos x="72" y="96"/>
              </a:cxn>
              <a:cxn ang="0">
                <a:pos x="90" y="108"/>
              </a:cxn>
              <a:cxn ang="0">
                <a:pos x="84" y="150"/>
              </a:cxn>
              <a:cxn ang="0">
                <a:pos x="114" y="156"/>
              </a:cxn>
              <a:cxn ang="0">
                <a:pos x="150" y="138"/>
              </a:cxn>
              <a:cxn ang="0">
                <a:pos x="168" y="126"/>
              </a:cxn>
              <a:cxn ang="0">
                <a:pos x="162" y="114"/>
              </a:cxn>
              <a:cxn ang="0">
                <a:pos x="162" y="90"/>
              </a:cxn>
              <a:cxn ang="0">
                <a:pos x="144" y="84"/>
              </a:cxn>
              <a:cxn ang="0">
                <a:pos x="120" y="54"/>
              </a:cxn>
              <a:cxn ang="0">
                <a:pos x="108" y="42"/>
              </a:cxn>
              <a:cxn ang="0">
                <a:pos x="90" y="12"/>
              </a:cxn>
              <a:cxn ang="0">
                <a:pos x="90" y="6"/>
              </a:cxn>
              <a:cxn ang="0">
                <a:pos x="78" y="0"/>
              </a:cxn>
              <a:cxn ang="0">
                <a:pos x="48" y="0"/>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solidFill>
            <a:schemeClr val="accent2">
              <a:lumMod val="40000"/>
              <a:lumOff val="60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81" name="Freeform 1451"/>
          <p:cNvSpPr>
            <a:spLocks/>
          </p:cNvSpPr>
          <p:nvPr/>
        </p:nvSpPr>
        <p:spPr bwMode="auto">
          <a:xfrm>
            <a:off x="2891854" y="4870599"/>
            <a:ext cx="131763" cy="111125"/>
          </a:xfrm>
          <a:custGeom>
            <a:avLst/>
            <a:gdLst/>
            <a:ahLst/>
            <a:cxnLst>
              <a:cxn ang="0">
                <a:pos x="66" y="24"/>
              </a:cxn>
              <a:cxn ang="0">
                <a:pos x="36" y="6"/>
              </a:cxn>
              <a:cxn ang="0">
                <a:pos x="18" y="0"/>
              </a:cxn>
              <a:cxn ang="0">
                <a:pos x="6" y="18"/>
              </a:cxn>
              <a:cxn ang="0">
                <a:pos x="0" y="48"/>
              </a:cxn>
              <a:cxn ang="0">
                <a:pos x="0" y="78"/>
              </a:cxn>
              <a:cxn ang="0">
                <a:pos x="24" y="96"/>
              </a:cxn>
              <a:cxn ang="0">
                <a:pos x="36" y="108"/>
              </a:cxn>
              <a:cxn ang="0">
                <a:pos x="66" y="114"/>
              </a:cxn>
              <a:cxn ang="0">
                <a:pos x="96" y="90"/>
              </a:cxn>
              <a:cxn ang="0">
                <a:pos x="102" y="78"/>
              </a:cxn>
              <a:cxn ang="0">
                <a:pos x="84" y="42"/>
              </a:cxn>
              <a:cxn ang="0">
                <a:pos x="66" y="24"/>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solidFill>
            <a:schemeClr val="accent2">
              <a:lumMod val="40000"/>
              <a:lumOff val="60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82" name="Freeform 1452"/>
          <p:cNvSpPr>
            <a:spLocks/>
          </p:cNvSpPr>
          <p:nvPr/>
        </p:nvSpPr>
        <p:spPr bwMode="auto">
          <a:xfrm>
            <a:off x="2606104" y="4473724"/>
            <a:ext cx="292100" cy="239713"/>
          </a:xfrm>
          <a:custGeom>
            <a:avLst/>
            <a:gdLst/>
            <a:ahLst/>
            <a:cxnLst>
              <a:cxn ang="0">
                <a:pos x="22" y="39"/>
              </a:cxn>
              <a:cxn ang="0">
                <a:pos x="22" y="37"/>
              </a:cxn>
              <a:cxn ang="0">
                <a:pos x="30" y="31"/>
              </a:cxn>
              <a:cxn ang="0">
                <a:pos x="35" y="31"/>
              </a:cxn>
              <a:cxn ang="0">
                <a:pos x="37" y="32"/>
              </a:cxn>
              <a:cxn ang="0">
                <a:pos x="37" y="25"/>
              </a:cxn>
              <a:cxn ang="0">
                <a:pos x="37" y="21"/>
              </a:cxn>
              <a:cxn ang="0">
                <a:pos x="31" y="20"/>
              </a:cxn>
              <a:cxn ang="0">
                <a:pos x="29" y="17"/>
              </a:cxn>
              <a:cxn ang="0">
                <a:pos x="29" y="13"/>
              </a:cxn>
              <a:cxn ang="0">
                <a:pos x="22" y="10"/>
              </a:cxn>
              <a:cxn ang="0">
                <a:pos x="16" y="7"/>
              </a:cxn>
              <a:cxn ang="0">
                <a:pos x="15" y="1"/>
              </a:cxn>
              <a:cxn ang="0">
                <a:pos x="9" y="0"/>
              </a:cxn>
              <a:cxn ang="0">
                <a:pos x="5" y="3"/>
              </a:cxn>
              <a:cxn ang="0">
                <a:pos x="1" y="4"/>
              </a:cxn>
              <a:cxn ang="0">
                <a:pos x="3" y="7"/>
              </a:cxn>
              <a:cxn ang="0">
                <a:pos x="2" y="15"/>
              </a:cxn>
              <a:cxn ang="0">
                <a:pos x="1" y="21"/>
              </a:cxn>
              <a:cxn ang="0">
                <a:pos x="0" y="26"/>
              </a:cxn>
              <a:cxn ang="0">
                <a:pos x="1" y="25"/>
              </a:cxn>
              <a:cxn ang="0">
                <a:pos x="4" y="28"/>
              </a:cxn>
              <a:cxn ang="0">
                <a:pos x="3" y="32"/>
              </a:cxn>
              <a:cxn ang="0">
                <a:pos x="7" y="39"/>
              </a:cxn>
              <a:cxn ang="0">
                <a:pos x="8" y="41"/>
              </a:cxn>
              <a:cxn ang="0">
                <a:pos x="10" y="40"/>
              </a:cxn>
              <a:cxn ang="0">
                <a:pos x="12" y="40"/>
              </a:cxn>
              <a:cxn ang="0">
                <a:pos x="17" y="41"/>
              </a:cxn>
              <a:cxn ang="0">
                <a:pos x="18" y="40"/>
              </a:cxn>
              <a:cxn ang="0">
                <a:pos x="22" y="39"/>
              </a:cxn>
              <a:cxn ang="0">
                <a:pos x="22" y="39"/>
              </a:cxn>
            </a:cxnLst>
            <a:rect l="0" t="0" r="r" b="b"/>
            <a:pathLst>
              <a:path w="37" h="41">
                <a:moveTo>
                  <a:pt x="22" y="39"/>
                </a:moveTo>
                <a:cubicBezTo>
                  <a:pt x="22" y="37"/>
                  <a:pt x="22" y="37"/>
                  <a:pt x="22" y="37"/>
                </a:cubicBezTo>
                <a:cubicBezTo>
                  <a:pt x="30" y="31"/>
                  <a:pt x="30" y="31"/>
                  <a:pt x="30" y="31"/>
                </a:cubicBezTo>
                <a:cubicBezTo>
                  <a:pt x="35" y="31"/>
                  <a:pt x="35" y="31"/>
                  <a:pt x="35" y="31"/>
                </a:cubicBezTo>
                <a:cubicBezTo>
                  <a:pt x="37" y="32"/>
                  <a:pt x="37" y="32"/>
                  <a:pt x="37" y="32"/>
                </a:cubicBezTo>
                <a:cubicBezTo>
                  <a:pt x="37" y="25"/>
                  <a:pt x="37" y="25"/>
                  <a:pt x="37" y="25"/>
                </a:cubicBezTo>
                <a:cubicBezTo>
                  <a:pt x="37" y="21"/>
                  <a:pt x="37" y="21"/>
                  <a:pt x="37" y="21"/>
                </a:cubicBezTo>
                <a:cubicBezTo>
                  <a:pt x="37" y="21"/>
                  <a:pt x="32" y="20"/>
                  <a:pt x="31" y="20"/>
                </a:cubicBezTo>
                <a:cubicBezTo>
                  <a:pt x="31" y="20"/>
                  <a:pt x="29" y="17"/>
                  <a:pt x="29" y="17"/>
                </a:cubicBezTo>
                <a:cubicBezTo>
                  <a:pt x="29" y="13"/>
                  <a:pt x="29" y="13"/>
                  <a:pt x="29" y="13"/>
                </a:cubicBezTo>
                <a:cubicBezTo>
                  <a:pt x="22" y="10"/>
                  <a:pt x="22" y="10"/>
                  <a:pt x="22" y="10"/>
                </a:cubicBezTo>
                <a:cubicBezTo>
                  <a:pt x="16" y="7"/>
                  <a:pt x="16" y="7"/>
                  <a:pt x="16" y="7"/>
                </a:cubicBezTo>
                <a:cubicBezTo>
                  <a:pt x="15" y="1"/>
                  <a:pt x="15" y="1"/>
                  <a:pt x="15" y="1"/>
                </a:cubicBezTo>
                <a:cubicBezTo>
                  <a:pt x="9" y="0"/>
                  <a:pt x="9" y="0"/>
                  <a:pt x="9" y="0"/>
                </a:cubicBezTo>
                <a:cubicBezTo>
                  <a:pt x="5" y="3"/>
                  <a:pt x="5" y="3"/>
                  <a:pt x="5" y="3"/>
                </a:cubicBezTo>
                <a:cubicBezTo>
                  <a:pt x="1" y="4"/>
                  <a:pt x="1" y="4"/>
                  <a:pt x="1" y="4"/>
                </a:cubicBezTo>
                <a:cubicBezTo>
                  <a:pt x="3" y="7"/>
                  <a:pt x="3" y="7"/>
                  <a:pt x="3" y="7"/>
                </a:cubicBezTo>
                <a:cubicBezTo>
                  <a:pt x="2" y="15"/>
                  <a:pt x="2" y="15"/>
                  <a:pt x="2" y="15"/>
                </a:cubicBezTo>
                <a:cubicBezTo>
                  <a:pt x="1" y="21"/>
                  <a:pt x="1" y="21"/>
                  <a:pt x="1" y="21"/>
                </a:cubicBezTo>
                <a:cubicBezTo>
                  <a:pt x="0" y="26"/>
                  <a:pt x="0" y="26"/>
                  <a:pt x="0" y="26"/>
                </a:cubicBezTo>
                <a:cubicBezTo>
                  <a:pt x="1" y="25"/>
                  <a:pt x="1" y="25"/>
                  <a:pt x="1" y="25"/>
                </a:cubicBezTo>
                <a:cubicBezTo>
                  <a:pt x="4" y="28"/>
                  <a:pt x="4" y="28"/>
                  <a:pt x="4" y="28"/>
                </a:cubicBezTo>
                <a:cubicBezTo>
                  <a:pt x="3" y="32"/>
                  <a:pt x="3" y="32"/>
                  <a:pt x="3" y="32"/>
                </a:cubicBezTo>
                <a:cubicBezTo>
                  <a:pt x="7" y="39"/>
                  <a:pt x="7" y="39"/>
                  <a:pt x="7" y="39"/>
                </a:cubicBezTo>
                <a:cubicBezTo>
                  <a:pt x="8" y="41"/>
                  <a:pt x="8" y="41"/>
                  <a:pt x="8" y="41"/>
                </a:cubicBezTo>
                <a:cubicBezTo>
                  <a:pt x="10" y="40"/>
                  <a:pt x="10" y="40"/>
                  <a:pt x="10" y="40"/>
                </a:cubicBezTo>
                <a:cubicBezTo>
                  <a:pt x="12" y="40"/>
                  <a:pt x="12" y="40"/>
                  <a:pt x="12" y="40"/>
                </a:cubicBezTo>
                <a:cubicBezTo>
                  <a:pt x="17" y="41"/>
                  <a:pt x="17" y="41"/>
                  <a:pt x="17" y="41"/>
                </a:cubicBezTo>
                <a:cubicBezTo>
                  <a:pt x="18" y="40"/>
                  <a:pt x="18" y="40"/>
                  <a:pt x="18" y="40"/>
                </a:cubicBezTo>
                <a:cubicBezTo>
                  <a:pt x="22" y="39"/>
                  <a:pt x="22" y="39"/>
                  <a:pt x="22" y="39"/>
                </a:cubicBezTo>
                <a:cubicBezTo>
                  <a:pt x="22" y="39"/>
                  <a:pt x="22" y="39"/>
                  <a:pt x="22" y="39"/>
                </a:cubicBezTo>
              </a:path>
            </a:pathLst>
          </a:custGeom>
          <a:solidFill>
            <a:schemeClr val="accent4">
              <a:lumMod val="50000"/>
              <a:lumOff val="50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83" name="Freeform 1453"/>
          <p:cNvSpPr>
            <a:spLocks/>
          </p:cNvSpPr>
          <p:nvPr/>
        </p:nvSpPr>
        <p:spPr bwMode="auto">
          <a:xfrm>
            <a:off x="2521967" y="4186387"/>
            <a:ext cx="955675" cy="760412"/>
          </a:xfrm>
          <a:custGeom>
            <a:avLst/>
            <a:gdLst/>
            <a:ahLst/>
            <a:cxnLst>
              <a:cxn ang="0">
                <a:pos x="62" y="102"/>
              </a:cxn>
              <a:cxn ang="0">
                <a:pos x="57" y="110"/>
              </a:cxn>
              <a:cxn ang="0">
                <a:pos x="50" y="117"/>
              </a:cxn>
              <a:cxn ang="0">
                <a:pos x="50" y="117"/>
              </a:cxn>
              <a:cxn ang="0">
                <a:pos x="58" y="121"/>
              </a:cxn>
              <a:cxn ang="0">
                <a:pos x="64" y="130"/>
              </a:cxn>
              <a:cxn ang="0">
                <a:pos x="69" y="123"/>
              </a:cxn>
              <a:cxn ang="0">
                <a:pos x="78" y="105"/>
              </a:cxn>
              <a:cxn ang="0">
                <a:pos x="92" y="92"/>
              </a:cxn>
              <a:cxn ang="0">
                <a:pos x="101" y="90"/>
              </a:cxn>
              <a:cxn ang="0">
                <a:pos x="104" y="82"/>
              </a:cxn>
              <a:cxn ang="0">
                <a:pos x="108" y="75"/>
              </a:cxn>
              <a:cxn ang="0">
                <a:pos x="112" y="57"/>
              </a:cxn>
              <a:cxn ang="0">
                <a:pos x="122" y="41"/>
              </a:cxn>
              <a:cxn ang="0">
                <a:pos x="114" y="32"/>
              </a:cxn>
              <a:cxn ang="0">
                <a:pos x="95" y="26"/>
              </a:cxn>
              <a:cxn ang="0">
                <a:pos x="90" y="22"/>
              </a:cxn>
              <a:cxn ang="0">
                <a:pos x="75" y="15"/>
              </a:cxn>
              <a:cxn ang="0">
                <a:pos x="71" y="3"/>
              </a:cxn>
              <a:cxn ang="0">
                <a:pos x="66" y="9"/>
              </a:cxn>
              <a:cxn ang="0">
                <a:pos x="61" y="10"/>
              </a:cxn>
              <a:cxn ang="0">
                <a:pos x="56" y="10"/>
              </a:cxn>
              <a:cxn ang="0">
                <a:pos x="53" y="11"/>
              </a:cxn>
              <a:cxn ang="0">
                <a:pos x="48" y="12"/>
              </a:cxn>
              <a:cxn ang="0">
                <a:pos x="42" y="10"/>
              </a:cxn>
              <a:cxn ang="0">
                <a:pos x="41" y="1"/>
              </a:cxn>
              <a:cxn ang="0">
                <a:pos x="40" y="2"/>
              </a:cxn>
              <a:cxn ang="0">
                <a:pos x="27" y="4"/>
              </a:cxn>
              <a:cxn ang="0">
                <a:pos x="31" y="12"/>
              </a:cxn>
              <a:cxn ang="0">
                <a:pos x="19" y="12"/>
              </a:cxn>
              <a:cxn ang="0">
                <a:pos x="12" y="19"/>
              </a:cxn>
              <a:cxn ang="0">
                <a:pos x="8" y="28"/>
              </a:cxn>
              <a:cxn ang="0">
                <a:pos x="4" y="33"/>
              </a:cxn>
              <a:cxn ang="0">
                <a:pos x="0" y="45"/>
              </a:cxn>
              <a:cxn ang="0">
                <a:pos x="9" y="46"/>
              </a:cxn>
              <a:cxn ang="0">
                <a:pos x="12" y="52"/>
              </a:cxn>
              <a:cxn ang="0">
                <a:pos x="16" y="52"/>
              </a:cxn>
              <a:cxn ang="0">
                <a:pos x="26" y="50"/>
              </a:cxn>
              <a:cxn ang="0">
                <a:pos x="33" y="59"/>
              </a:cxn>
              <a:cxn ang="0">
                <a:pos x="40" y="66"/>
              </a:cxn>
              <a:cxn ang="0">
                <a:pos x="48" y="70"/>
              </a:cxn>
              <a:cxn ang="0">
                <a:pos x="48" y="81"/>
              </a:cxn>
            </a:cxnLst>
            <a:rect l="0" t="0" r="r" b="b"/>
            <a:pathLst>
              <a:path w="122" h="130">
                <a:moveTo>
                  <a:pt x="61" y="101"/>
                </a:moveTo>
                <a:cubicBezTo>
                  <a:pt x="62" y="102"/>
                  <a:pt x="62" y="102"/>
                  <a:pt x="62" y="102"/>
                </a:cubicBezTo>
                <a:cubicBezTo>
                  <a:pt x="60" y="108"/>
                  <a:pt x="60" y="108"/>
                  <a:pt x="60" y="108"/>
                </a:cubicBezTo>
                <a:cubicBezTo>
                  <a:pt x="57" y="110"/>
                  <a:pt x="57" y="110"/>
                  <a:pt x="57" y="110"/>
                </a:cubicBezTo>
                <a:cubicBezTo>
                  <a:pt x="50" y="117"/>
                  <a:pt x="50" y="117"/>
                  <a:pt x="50" y="117"/>
                </a:cubicBezTo>
                <a:cubicBezTo>
                  <a:pt x="50" y="117"/>
                  <a:pt x="50" y="117"/>
                  <a:pt x="50" y="117"/>
                </a:cubicBezTo>
                <a:cubicBezTo>
                  <a:pt x="51" y="117"/>
                  <a:pt x="51" y="117"/>
                  <a:pt x="51" y="117"/>
                </a:cubicBezTo>
                <a:cubicBezTo>
                  <a:pt x="50" y="117"/>
                  <a:pt x="50" y="117"/>
                  <a:pt x="50" y="117"/>
                </a:cubicBezTo>
                <a:cubicBezTo>
                  <a:pt x="53" y="118"/>
                  <a:pt x="53" y="118"/>
                  <a:pt x="53" y="118"/>
                </a:cubicBezTo>
                <a:cubicBezTo>
                  <a:pt x="58" y="121"/>
                  <a:pt x="58" y="121"/>
                  <a:pt x="58" y="121"/>
                </a:cubicBezTo>
                <a:cubicBezTo>
                  <a:pt x="61" y="124"/>
                  <a:pt x="61" y="124"/>
                  <a:pt x="61" y="124"/>
                </a:cubicBezTo>
                <a:cubicBezTo>
                  <a:pt x="64" y="130"/>
                  <a:pt x="64" y="130"/>
                  <a:pt x="64" y="130"/>
                </a:cubicBezTo>
                <a:cubicBezTo>
                  <a:pt x="65" y="127"/>
                  <a:pt x="65" y="127"/>
                  <a:pt x="65" y="127"/>
                </a:cubicBezTo>
                <a:cubicBezTo>
                  <a:pt x="69" y="123"/>
                  <a:pt x="69" y="123"/>
                  <a:pt x="69" y="123"/>
                </a:cubicBezTo>
                <a:cubicBezTo>
                  <a:pt x="74" y="118"/>
                  <a:pt x="74" y="118"/>
                  <a:pt x="74" y="118"/>
                </a:cubicBezTo>
                <a:cubicBezTo>
                  <a:pt x="78" y="105"/>
                  <a:pt x="78" y="105"/>
                  <a:pt x="78" y="105"/>
                </a:cubicBezTo>
                <a:cubicBezTo>
                  <a:pt x="81" y="99"/>
                  <a:pt x="81" y="99"/>
                  <a:pt x="81" y="99"/>
                </a:cubicBezTo>
                <a:cubicBezTo>
                  <a:pt x="92" y="92"/>
                  <a:pt x="92" y="92"/>
                  <a:pt x="92" y="92"/>
                </a:cubicBezTo>
                <a:cubicBezTo>
                  <a:pt x="99" y="91"/>
                  <a:pt x="99" y="91"/>
                  <a:pt x="99" y="91"/>
                </a:cubicBezTo>
                <a:cubicBezTo>
                  <a:pt x="101" y="90"/>
                  <a:pt x="101" y="90"/>
                  <a:pt x="101" y="90"/>
                </a:cubicBezTo>
                <a:cubicBezTo>
                  <a:pt x="103" y="86"/>
                  <a:pt x="103" y="86"/>
                  <a:pt x="103" y="86"/>
                </a:cubicBezTo>
                <a:cubicBezTo>
                  <a:pt x="104" y="82"/>
                  <a:pt x="104" y="82"/>
                  <a:pt x="104" y="82"/>
                </a:cubicBezTo>
                <a:cubicBezTo>
                  <a:pt x="107" y="77"/>
                  <a:pt x="107" y="77"/>
                  <a:pt x="107" y="77"/>
                </a:cubicBezTo>
                <a:cubicBezTo>
                  <a:pt x="108" y="75"/>
                  <a:pt x="108" y="75"/>
                  <a:pt x="108" y="75"/>
                </a:cubicBezTo>
                <a:cubicBezTo>
                  <a:pt x="109" y="58"/>
                  <a:pt x="109" y="58"/>
                  <a:pt x="109" y="58"/>
                </a:cubicBezTo>
                <a:cubicBezTo>
                  <a:pt x="112" y="57"/>
                  <a:pt x="112" y="57"/>
                  <a:pt x="112" y="57"/>
                </a:cubicBezTo>
                <a:cubicBezTo>
                  <a:pt x="122" y="44"/>
                  <a:pt x="122" y="44"/>
                  <a:pt x="122" y="44"/>
                </a:cubicBezTo>
                <a:cubicBezTo>
                  <a:pt x="122" y="41"/>
                  <a:pt x="122" y="41"/>
                  <a:pt x="122" y="41"/>
                </a:cubicBezTo>
                <a:cubicBezTo>
                  <a:pt x="120" y="34"/>
                  <a:pt x="120" y="34"/>
                  <a:pt x="120" y="34"/>
                </a:cubicBezTo>
                <a:cubicBezTo>
                  <a:pt x="114" y="32"/>
                  <a:pt x="114" y="32"/>
                  <a:pt x="114" y="32"/>
                </a:cubicBezTo>
                <a:cubicBezTo>
                  <a:pt x="105" y="27"/>
                  <a:pt x="105" y="27"/>
                  <a:pt x="105" y="27"/>
                </a:cubicBezTo>
                <a:cubicBezTo>
                  <a:pt x="95" y="26"/>
                  <a:pt x="95" y="26"/>
                  <a:pt x="95" y="26"/>
                </a:cubicBezTo>
                <a:cubicBezTo>
                  <a:pt x="92" y="25"/>
                  <a:pt x="92" y="25"/>
                  <a:pt x="92" y="25"/>
                </a:cubicBezTo>
                <a:cubicBezTo>
                  <a:pt x="90" y="22"/>
                  <a:pt x="90" y="22"/>
                  <a:pt x="90" y="22"/>
                </a:cubicBezTo>
                <a:cubicBezTo>
                  <a:pt x="82" y="19"/>
                  <a:pt x="82" y="19"/>
                  <a:pt x="82" y="19"/>
                </a:cubicBezTo>
                <a:cubicBezTo>
                  <a:pt x="75" y="15"/>
                  <a:pt x="75" y="15"/>
                  <a:pt x="75" y="15"/>
                </a:cubicBezTo>
                <a:cubicBezTo>
                  <a:pt x="74" y="11"/>
                  <a:pt x="74" y="11"/>
                  <a:pt x="74" y="11"/>
                </a:cubicBezTo>
                <a:cubicBezTo>
                  <a:pt x="71" y="3"/>
                  <a:pt x="71" y="3"/>
                  <a:pt x="71" y="3"/>
                </a:cubicBezTo>
                <a:cubicBezTo>
                  <a:pt x="70" y="3"/>
                  <a:pt x="70" y="3"/>
                  <a:pt x="70" y="3"/>
                </a:cubicBezTo>
                <a:cubicBezTo>
                  <a:pt x="66" y="9"/>
                  <a:pt x="66" y="9"/>
                  <a:pt x="66" y="9"/>
                </a:cubicBezTo>
                <a:cubicBezTo>
                  <a:pt x="62" y="11"/>
                  <a:pt x="62" y="11"/>
                  <a:pt x="62" y="11"/>
                </a:cubicBezTo>
                <a:cubicBezTo>
                  <a:pt x="61" y="10"/>
                  <a:pt x="61" y="10"/>
                  <a:pt x="61" y="10"/>
                </a:cubicBezTo>
                <a:cubicBezTo>
                  <a:pt x="61" y="10"/>
                  <a:pt x="61" y="10"/>
                  <a:pt x="61" y="10"/>
                </a:cubicBezTo>
                <a:cubicBezTo>
                  <a:pt x="56" y="10"/>
                  <a:pt x="56" y="10"/>
                  <a:pt x="56" y="10"/>
                </a:cubicBezTo>
                <a:cubicBezTo>
                  <a:pt x="54" y="11"/>
                  <a:pt x="54" y="11"/>
                  <a:pt x="54" y="11"/>
                </a:cubicBezTo>
                <a:cubicBezTo>
                  <a:pt x="53" y="11"/>
                  <a:pt x="53" y="11"/>
                  <a:pt x="53" y="11"/>
                </a:cubicBezTo>
                <a:cubicBezTo>
                  <a:pt x="53" y="11"/>
                  <a:pt x="53" y="11"/>
                  <a:pt x="53" y="11"/>
                </a:cubicBezTo>
                <a:cubicBezTo>
                  <a:pt x="48" y="12"/>
                  <a:pt x="48" y="12"/>
                  <a:pt x="48" y="12"/>
                </a:cubicBezTo>
                <a:cubicBezTo>
                  <a:pt x="45" y="13"/>
                  <a:pt x="45" y="13"/>
                  <a:pt x="45" y="13"/>
                </a:cubicBezTo>
                <a:cubicBezTo>
                  <a:pt x="42" y="10"/>
                  <a:pt x="42" y="10"/>
                  <a:pt x="42" y="10"/>
                </a:cubicBezTo>
                <a:cubicBezTo>
                  <a:pt x="43" y="4"/>
                  <a:pt x="43" y="4"/>
                  <a:pt x="43" y="4"/>
                </a:cubicBezTo>
                <a:cubicBezTo>
                  <a:pt x="41" y="1"/>
                  <a:pt x="41" y="1"/>
                  <a:pt x="41" y="1"/>
                </a:cubicBezTo>
                <a:cubicBezTo>
                  <a:pt x="39" y="0"/>
                  <a:pt x="39" y="0"/>
                  <a:pt x="39" y="0"/>
                </a:cubicBezTo>
                <a:cubicBezTo>
                  <a:pt x="40" y="2"/>
                  <a:pt x="40" y="2"/>
                  <a:pt x="40" y="2"/>
                </a:cubicBezTo>
                <a:cubicBezTo>
                  <a:pt x="35" y="4"/>
                  <a:pt x="35" y="4"/>
                  <a:pt x="35" y="4"/>
                </a:cubicBezTo>
                <a:cubicBezTo>
                  <a:pt x="27" y="4"/>
                  <a:pt x="27" y="4"/>
                  <a:pt x="27" y="4"/>
                </a:cubicBezTo>
                <a:cubicBezTo>
                  <a:pt x="30" y="9"/>
                  <a:pt x="30" y="9"/>
                  <a:pt x="30" y="9"/>
                </a:cubicBezTo>
                <a:cubicBezTo>
                  <a:pt x="31" y="12"/>
                  <a:pt x="31" y="12"/>
                  <a:pt x="31" y="12"/>
                </a:cubicBezTo>
                <a:cubicBezTo>
                  <a:pt x="22" y="15"/>
                  <a:pt x="22" y="15"/>
                  <a:pt x="22" y="15"/>
                </a:cubicBezTo>
                <a:cubicBezTo>
                  <a:pt x="19" y="12"/>
                  <a:pt x="19" y="12"/>
                  <a:pt x="19" y="12"/>
                </a:cubicBezTo>
                <a:cubicBezTo>
                  <a:pt x="11" y="14"/>
                  <a:pt x="11" y="14"/>
                  <a:pt x="11" y="14"/>
                </a:cubicBezTo>
                <a:cubicBezTo>
                  <a:pt x="12" y="19"/>
                  <a:pt x="12" y="19"/>
                  <a:pt x="12" y="19"/>
                </a:cubicBezTo>
                <a:cubicBezTo>
                  <a:pt x="10" y="30"/>
                  <a:pt x="10" y="30"/>
                  <a:pt x="10" y="30"/>
                </a:cubicBezTo>
                <a:cubicBezTo>
                  <a:pt x="8" y="28"/>
                  <a:pt x="8" y="28"/>
                  <a:pt x="8" y="28"/>
                </a:cubicBezTo>
                <a:cubicBezTo>
                  <a:pt x="7" y="31"/>
                  <a:pt x="7" y="31"/>
                  <a:pt x="7" y="31"/>
                </a:cubicBezTo>
                <a:cubicBezTo>
                  <a:pt x="4" y="33"/>
                  <a:pt x="4" y="33"/>
                  <a:pt x="4" y="33"/>
                </a:cubicBezTo>
                <a:cubicBezTo>
                  <a:pt x="0" y="39"/>
                  <a:pt x="0" y="39"/>
                  <a:pt x="0" y="39"/>
                </a:cubicBezTo>
                <a:cubicBezTo>
                  <a:pt x="0" y="45"/>
                  <a:pt x="0" y="45"/>
                  <a:pt x="0" y="45"/>
                </a:cubicBezTo>
                <a:cubicBezTo>
                  <a:pt x="4" y="48"/>
                  <a:pt x="4" y="48"/>
                  <a:pt x="4" y="48"/>
                </a:cubicBezTo>
                <a:cubicBezTo>
                  <a:pt x="9" y="46"/>
                  <a:pt x="9" y="46"/>
                  <a:pt x="9" y="46"/>
                </a:cubicBezTo>
                <a:cubicBezTo>
                  <a:pt x="10" y="52"/>
                  <a:pt x="10" y="52"/>
                  <a:pt x="10" y="52"/>
                </a:cubicBezTo>
                <a:cubicBezTo>
                  <a:pt x="12" y="52"/>
                  <a:pt x="12" y="52"/>
                  <a:pt x="12" y="52"/>
                </a:cubicBezTo>
                <a:cubicBezTo>
                  <a:pt x="12" y="53"/>
                  <a:pt x="12" y="53"/>
                  <a:pt x="12" y="53"/>
                </a:cubicBezTo>
                <a:cubicBezTo>
                  <a:pt x="16" y="52"/>
                  <a:pt x="16" y="52"/>
                  <a:pt x="16" y="52"/>
                </a:cubicBezTo>
                <a:cubicBezTo>
                  <a:pt x="20" y="49"/>
                  <a:pt x="20" y="49"/>
                  <a:pt x="20" y="49"/>
                </a:cubicBezTo>
                <a:cubicBezTo>
                  <a:pt x="26" y="50"/>
                  <a:pt x="26" y="50"/>
                  <a:pt x="26" y="50"/>
                </a:cubicBezTo>
                <a:cubicBezTo>
                  <a:pt x="27" y="56"/>
                  <a:pt x="27" y="56"/>
                  <a:pt x="27" y="56"/>
                </a:cubicBezTo>
                <a:cubicBezTo>
                  <a:pt x="33" y="59"/>
                  <a:pt x="33" y="59"/>
                  <a:pt x="33" y="59"/>
                </a:cubicBezTo>
                <a:cubicBezTo>
                  <a:pt x="40" y="62"/>
                  <a:pt x="40" y="62"/>
                  <a:pt x="40" y="62"/>
                </a:cubicBezTo>
                <a:cubicBezTo>
                  <a:pt x="40" y="66"/>
                  <a:pt x="40" y="66"/>
                  <a:pt x="40" y="66"/>
                </a:cubicBezTo>
                <a:cubicBezTo>
                  <a:pt x="40" y="66"/>
                  <a:pt x="42" y="69"/>
                  <a:pt x="42" y="69"/>
                </a:cubicBezTo>
                <a:cubicBezTo>
                  <a:pt x="43" y="69"/>
                  <a:pt x="48" y="70"/>
                  <a:pt x="48" y="70"/>
                </a:cubicBezTo>
                <a:cubicBezTo>
                  <a:pt x="48" y="74"/>
                  <a:pt x="48" y="74"/>
                  <a:pt x="48" y="74"/>
                </a:cubicBezTo>
                <a:cubicBezTo>
                  <a:pt x="48" y="81"/>
                  <a:pt x="48" y="81"/>
                  <a:pt x="48" y="81"/>
                </a:cubicBezTo>
              </a:path>
            </a:pathLst>
          </a:custGeom>
          <a:solidFill>
            <a:schemeClr val="accent2">
              <a:lumMod val="40000"/>
              <a:lumOff val="60000"/>
            </a:schemeClr>
          </a:solidFill>
          <a:ln w="9525" cap="flat" cmpd="sng">
            <a:solidFill>
              <a:schemeClr val="bg1"/>
            </a:solidFill>
            <a:prstDash val="solid"/>
            <a:round/>
            <a:headEnd type="none" w="med" len="med"/>
            <a:tailEnd type="none" w="med" len="med"/>
          </a:ln>
          <a:effectLst/>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84" name="Freeform 1454"/>
          <p:cNvSpPr>
            <a:spLocks/>
          </p:cNvSpPr>
          <p:nvPr/>
        </p:nvSpPr>
        <p:spPr bwMode="auto">
          <a:xfrm>
            <a:off x="2898204" y="4661049"/>
            <a:ext cx="103188" cy="117475"/>
          </a:xfrm>
          <a:custGeom>
            <a:avLst/>
            <a:gdLst>
              <a:gd name="T0" fmla="*/ 0 w 78"/>
              <a:gd name="T1" fmla="*/ 0 h 120"/>
              <a:gd name="T2" fmla="*/ 0 w 78"/>
              <a:gd name="T3" fmla="*/ 5874 h 120"/>
              <a:gd name="T4" fmla="*/ 23813 w 78"/>
              <a:gd name="T5" fmla="*/ 35243 h 120"/>
              <a:gd name="T6" fmla="*/ 39688 w 78"/>
              <a:gd name="T7" fmla="*/ 46990 h 120"/>
              <a:gd name="T8" fmla="*/ 71438 w 78"/>
              <a:gd name="T9" fmla="*/ 76359 h 120"/>
              <a:gd name="T10" fmla="*/ 87313 w 78"/>
              <a:gd name="T11" fmla="*/ 93980 h 120"/>
              <a:gd name="T12" fmla="*/ 95250 w 78"/>
              <a:gd name="T13" fmla="*/ 105728 h 120"/>
              <a:gd name="T14" fmla="*/ 103188 w 78"/>
              <a:gd name="T15" fmla="*/ 117475 h 120"/>
              <a:gd name="T16" fmla="*/ 0 w 78"/>
              <a:gd name="T17" fmla="*/ 0 h 1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120"/>
              <a:gd name="T29" fmla="*/ 78 w 78"/>
              <a:gd name="T30" fmla="*/ 120 h 1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120">
                <a:moveTo>
                  <a:pt x="0" y="0"/>
                </a:moveTo>
                <a:lnTo>
                  <a:pt x="0" y="6"/>
                </a:lnTo>
                <a:lnTo>
                  <a:pt x="18" y="36"/>
                </a:lnTo>
                <a:lnTo>
                  <a:pt x="30" y="48"/>
                </a:lnTo>
                <a:lnTo>
                  <a:pt x="54" y="78"/>
                </a:lnTo>
                <a:lnTo>
                  <a:pt x="66" y="96"/>
                </a:lnTo>
                <a:lnTo>
                  <a:pt x="72" y="108"/>
                </a:lnTo>
                <a:lnTo>
                  <a:pt x="78" y="120"/>
                </a:lnTo>
                <a:lnTo>
                  <a:pt x="0" y="0"/>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85" name="Freeform 1455"/>
          <p:cNvSpPr>
            <a:spLocks/>
          </p:cNvSpPr>
          <p:nvPr/>
        </p:nvSpPr>
        <p:spPr bwMode="auto">
          <a:xfrm>
            <a:off x="2898204" y="4661049"/>
            <a:ext cx="103188" cy="117475"/>
          </a:xfrm>
          <a:custGeom>
            <a:avLst/>
            <a:gdLst>
              <a:gd name="T0" fmla="*/ 0 w 78"/>
              <a:gd name="T1" fmla="*/ 0 h 120"/>
              <a:gd name="T2" fmla="*/ 0 w 78"/>
              <a:gd name="T3" fmla="*/ 5874 h 120"/>
              <a:gd name="T4" fmla="*/ 23813 w 78"/>
              <a:gd name="T5" fmla="*/ 35243 h 120"/>
              <a:gd name="T6" fmla="*/ 39688 w 78"/>
              <a:gd name="T7" fmla="*/ 46990 h 120"/>
              <a:gd name="T8" fmla="*/ 71438 w 78"/>
              <a:gd name="T9" fmla="*/ 76359 h 120"/>
              <a:gd name="T10" fmla="*/ 87313 w 78"/>
              <a:gd name="T11" fmla="*/ 93980 h 120"/>
              <a:gd name="T12" fmla="*/ 95250 w 78"/>
              <a:gd name="T13" fmla="*/ 105728 h 120"/>
              <a:gd name="T14" fmla="*/ 103188 w 78"/>
              <a:gd name="T15" fmla="*/ 117475 h 120"/>
              <a:gd name="T16" fmla="*/ 0 60000 65536"/>
              <a:gd name="T17" fmla="*/ 0 60000 65536"/>
              <a:gd name="T18" fmla="*/ 0 60000 65536"/>
              <a:gd name="T19" fmla="*/ 0 60000 65536"/>
              <a:gd name="T20" fmla="*/ 0 60000 65536"/>
              <a:gd name="T21" fmla="*/ 0 60000 65536"/>
              <a:gd name="T22" fmla="*/ 0 60000 65536"/>
              <a:gd name="T23" fmla="*/ 0 60000 65536"/>
              <a:gd name="T24" fmla="*/ 0 w 78"/>
              <a:gd name="T25" fmla="*/ 0 h 120"/>
              <a:gd name="T26" fmla="*/ 78 w 78"/>
              <a:gd name="T27" fmla="*/ 120 h 1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8" h="120">
                <a:moveTo>
                  <a:pt x="0" y="0"/>
                </a:moveTo>
                <a:lnTo>
                  <a:pt x="0" y="6"/>
                </a:lnTo>
                <a:lnTo>
                  <a:pt x="18" y="36"/>
                </a:lnTo>
                <a:lnTo>
                  <a:pt x="30" y="48"/>
                </a:lnTo>
                <a:lnTo>
                  <a:pt x="54" y="78"/>
                </a:lnTo>
                <a:lnTo>
                  <a:pt x="66" y="96"/>
                </a:lnTo>
                <a:lnTo>
                  <a:pt x="72" y="108"/>
                </a:lnTo>
                <a:lnTo>
                  <a:pt x="78" y="120"/>
                </a:lnTo>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86" name="Freeform 1456"/>
          <p:cNvSpPr>
            <a:spLocks/>
          </p:cNvSpPr>
          <p:nvPr/>
        </p:nvSpPr>
        <p:spPr bwMode="auto">
          <a:xfrm>
            <a:off x="2904554" y="4168924"/>
            <a:ext cx="96838" cy="82550"/>
          </a:xfrm>
          <a:custGeom>
            <a:avLst/>
            <a:gdLst>
              <a:gd name="T0" fmla="*/ 96838 w 72"/>
              <a:gd name="T1" fmla="*/ 76654 h 84"/>
              <a:gd name="T2" fmla="*/ 96838 w 72"/>
              <a:gd name="T3" fmla="*/ 53068 h 84"/>
              <a:gd name="T4" fmla="*/ 88768 w 72"/>
              <a:gd name="T5" fmla="*/ 29482 h 84"/>
              <a:gd name="T6" fmla="*/ 96838 w 72"/>
              <a:gd name="T7" fmla="*/ 11793 h 84"/>
              <a:gd name="T8" fmla="*/ 32279 w 72"/>
              <a:gd name="T9" fmla="*/ 5896 h 84"/>
              <a:gd name="T10" fmla="*/ 32279 w 72"/>
              <a:gd name="T11" fmla="*/ 0 h 84"/>
              <a:gd name="T12" fmla="*/ 24210 w 72"/>
              <a:gd name="T13" fmla="*/ 17689 h 84"/>
              <a:gd name="T14" fmla="*/ 0 w 72"/>
              <a:gd name="T15" fmla="*/ 35379 h 84"/>
              <a:gd name="T16" fmla="*/ 16140 w 72"/>
              <a:gd name="T17" fmla="*/ 58964 h 84"/>
              <a:gd name="T18" fmla="*/ 32279 w 72"/>
              <a:gd name="T19" fmla="*/ 82550 h 84"/>
              <a:gd name="T20" fmla="*/ 40349 w 72"/>
              <a:gd name="T21" fmla="*/ 82550 h 84"/>
              <a:gd name="T22" fmla="*/ 56489 w 72"/>
              <a:gd name="T23" fmla="*/ 76654 h 84"/>
              <a:gd name="T24" fmla="*/ 96838 w 72"/>
              <a:gd name="T25" fmla="*/ 76654 h 84"/>
              <a:gd name="T26" fmla="*/ 96838 w 72"/>
              <a:gd name="T27" fmla="*/ 76654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2"/>
              <a:gd name="T43" fmla="*/ 0 h 84"/>
              <a:gd name="T44" fmla="*/ 72 w 72"/>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87" name="Freeform 1457"/>
          <p:cNvSpPr>
            <a:spLocks/>
          </p:cNvSpPr>
          <p:nvPr/>
        </p:nvSpPr>
        <p:spPr bwMode="auto">
          <a:xfrm>
            <a:off x="2904554" y="4168924"/>
            <a:ext cx="96838" cy="82550"/>
          </a:xfrm>
          <a:custGeom>
            <a:avLst/>
            <a:gdLst/>
            <a:ahLst/>
            <a:cxnLst>
              <a:cxn ang="0">
                <a:pos x="72" y="78"/>
              </a:cxn>
              <a:cxn ang="0">
                <a:pos x="72" y="54"/>
              </a:cxn>
              <a:cxn ang="0">
                <a:pos x="66" y="30"/>
              </a:cxn>
              <a:cxn ang="0">
                <a:pos x="72" y="12"/>
              </a:cxn>
              <a:cxn ang="0">
                <a:pos x="24" y="6"/>
              </a:cxn>
              <a:cxn ang="0">
                <a:pos x="24" y="0"/>
              </a:cxn>
              <a:cxn ang="0">
                <a:pos x="18" y="18"/>
              </a:cxn>
              <a:cxn ang="0">
                <a:pos x="0" y="36"/>
              </a:cxn>
              <a:cxn ang="0">
                <a:pos x="12" y="60"/>
              </a:cxn>
              <a:cxn ang="0">
                <a:pos x="24" y="84"/>
              </a:cxn>
              <a:cxn ang="0">
                <a:pos x="30" y="84"/>
              </a:cxn>
              <a:cxn ang="0">
                <a:pos x="42" y="78"/>
              </a:cxn>
              <a:cxn ang="0">
                <a:pos x="72" y="78"/>
              </a:cxn>
              <a:cxn ang="0">
                <a:pos x="72" y="78"/>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lnTo>
                  <a:pt x="72" y="78"/>
                </a:lnTo>
              </a:path>
            </a:pathLst>
          </a:custGeom>
          <a:solidFill>
            <a:schemeClr val="accent2">
              <a:lumMod val="40000"/>
              <a:lumOff val="60000"/>
            </a:schemeClr>
          </a:solidFill>
          <a:ln w="9525" cap="flat" cmpd="sng">
            <a:solidFill>
              <a:schemeClr val="bg1"/>
            </a:solidFill>
            <a:prstDash val="solid"/>
            <a:round/>
            <a:headEnd type="none" w="med" len="med"/>
            <a:tailEnd type="none" w="med" len="med"/>
          </a:ln>
          <a:effectLst/>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88" name="Freeform 1458"/>
          <p:cNvSpPr>
            <a:spLocks/>
          </p:cNvSpPr>
          <p:nvPr/>
        </p:nvSpPr>
        <p:spPr bwMode="auto">
          <a:xfrm>
            <a:off x="2531492" y="4062562"/>
            <a:ext cx="334962" cy="211137"/>
          </a:xfrm>
          <a:custGeom>
            <a:avLst/>
            <a:gdLst/>
            <a:ahLst/>
            <a:cxnLst>
              <a:cxn ang="0">
                <a:pos x="38" y="21"/>
              </a:cxn>
              <a:cxn ang="0">
                <a:pos x="37" y="18"/>
              </a:cxn>
              <a:cxn ang="0">
                <a:pos x="39" y="15"/>
              </a:cxn>
              <a:cxn ang="0">
                <a:pos x="43" y="11"/>
              </a:cxn>
              <a:cxn ang="0">
                <a:pos x="42" y="11"/>
              </a:cxn>
              <a:cxn ang="0">
                <a:pos x="39" y="10"/>
              </a:cxn>
              <a:cxn ang="0">
                <a:pos x="38" y="8"/>
              </a:cxn>
              <a:cxn ang="0">
                <a:pos x="32" y="5"/>
              </a:cxn>
              <a:cxn ang="0">
                <a:pos x="22" y="6"/>
              </a:cxn>
              <a:cxn ang="0">
                <a:pos x="17" y="5"/>
              </a:cxn>
              <a:cxn ang="0">
                <a:pos x="16" y="3"/>
              </a:cxn>
              <a:cxn ang="0">
                <a:pos x="11" y="2"/>
              </a:cxn>
              <a:cxn ang="0">
                <a:pos x="6" y="3"/>
              </a:cxn>
              <a:cxn ang="0">
                <a:pos x="5" y="0"/>
              </a:cxn>
              <a:cxn ang="0">
                <a:pos x="1" y="2"/>
              </a:cxn>
              <a:cxn ang="0">
                <a:pos x="0" y="10"/>
              </a:cxn>
              <a:cxn ang="0">
                <a:pos x="2" y="15"/>
              </a:cxn>
              <a:cxn ang="0">
                <a:pos x="12" y="19"/>
              </a:cxn>
              <a:cxn ang="0">
                <a:pos x="17" y="20"/>
              </a:cxn>
              <a:cxn ang="0">
                <a:pos x="16" y="22"/>
              </a:cxn>
              <a:cxn ang="0">
                <a:pos x="18" y="26"/>
              </a:cxn>
              <a:cxn ang="0">
                <a:pos x="18" y="33"/>
              </a:cxn>
              <a:cxn ang="0">
                <a:pos x="18" y="33"/>
              </a:cxn>
              <a:cxn ang="0">
                <a:pos x="21" y="36"/>
              </a:cxn>
              <a:cxn ang="0">
                <a:pos x="30" y="33"/>
              </a:cxn>
              <a:cxn ang="0">
                <a:pos x="29" y="30"/>
              </a:cxn>
              <a:cxn ang="0">
                <a:pos x="26" y="25"/>
              </a:cxn>
              <a:cxn ang="0">
                <a:pos x="34" y="25"/>
              </a:cxn>
              <a:cxn ang="0">
                <a:pos x="39" y="23"/>
              </a:cxn>
              <a:cxn ang="0">
                <a:pos x="38" y="21"/>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solidFill>
            <a:schemeClr val="accent4">
              <a:lumMod val="50000"/>
              <a:lumOff val="50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89" name="Freeform 1459"/>
          <p:cNvSpPr>
            <a:spLocks/>
          </p:cNvSpPr>
          <p:nvPr/>
        </p:nvSpPr>
        <p:spPr bwMode="auto">
          <a:xfrm>
            <a:off x="2317179" y="4297512"/>
            <a:ext cx="315913" cy="327025"/>
          </a:xfrm>
          <a:custGeom>
            <a:avLst/>
            <a:gdLst>
              <a:gd name="T0" fmla="*/ 300117 w 240"/>
              <a:gd name="T1" fmla="*/ 197962 h 337"/>
              <a:gd name="T2" fmla="*/ 300117 w 240"/>
              <a:gd name="T3" fmla="*/ 192139 h 337"/>
              <a:gd name="T4" fmla="*/ 284322 w 240"/>
              <a:gd name="T5" fmla="*/ 192139 h 337"/>
              <a:gd name="T6" fmla="*/ 276424 w 240"/>
              <a:gd name="T7" fmla="*/ 157205 h 337"/>
              <a:gd name="T8" fmla="*/ 236935 w 240"/>
              <a:gd name="T9" fmla="*/ 168850 h 337"/>
              <a:gd name="T10" fmla="*/ 205343 w 240"/>
              <a:gd name="T11" fmla="*/ 151382 h 337"/>
              <a:gd name="T12" fmla="*/ 205343 w 240"/>
              <a:gd name="T13" fmla="*/ 116448 h 337"/>
              <a:gd name="T14" fmla="*/ 236935 w 240"/>
              <a:gd name="T15" fmla="*/ 81514 h 337"/>
              <a:gd name="T16" fmla="*/ 260628 w 240"/>
              <a:gd name="T17" fmla="*/ 69869 h 337"/>
              <a:gd name="T18" fmla="*/ 268526 w 240"/>
              <a:gd name="T19" fmla="*/ 52402 h 337"/>
              <a:gd name="T20" fmla="*/ 252730 w 240"/>
              <a:gd name="T21" fmla="*/ 34934 h 337"/>
              <a:gd name="T22" fmla="*/ 221139 w 240"/>
              <a:gd name="T23" fmla="*/ 34934 h 337"/>
              <a:gd name="T24" fmla="*/ 197446 w 240"/>
              <a:gd name="T25" fmla="*/ 17467 h 337"/>
              <a:gd name="T26" fmla="*/ 157957 w 240"/>
              <a:gd name="T27" fmla="*/ 0 h 337"/>
              <a:gd name="T28" fmla="*/ 157957 w 240"/>
              <a:gd name="T29" fmla="*/ 0 h 337"/>
              <a:gd name="T30" fmla="*/ 142161 w 240"/>
              <a:gd name="T31" fmla="*/ 23290 h 337"/>
              <a:gd name="T32" fmla="*/ 110570 w 240"/>
              <a:gd name="T33" fmla="*/ 46579 h 337"/>
              <a:gd name="T34" fmla="*/ 86876 w 240"/>
              <a:gd name="T35" fmla="*/ 52402 h 337"/>
              <a:gd name="T36" fmla="*/ 55285 w 240"/>
              <a:gd name="T37" fmla="*/ 75691 h 337"/>
              <a:gd name="T38" fmla="*/ 31591 w 240"/>
              <a:gd name="T39" fmla="*/ 69869 h 337"/>
              <a:gd name="T40" fmla="*/ 23693 w 240"/>
              <a:gd name="T41" fmla="*/ 58224 h 337"/>
              <a:gd name="T42" fmla="*/ 0 w 240"/>
              <a:gd name="T43" fmla="*/ 69869 h 337"/>
              <a:gd name="T44" fmla="*/ 23693 w 240"/>
              <a:gd name="T45" fmla="*/ 110626 h 337"/>
              <a:gd name="T46" fmla="*/ 71080 w 240"/>
              <a:gd name="T47" fmla="*/ 168850 h 337"/>
              <a:gd name="T48" fmla="*/ 118467 w 240"/>
              <a:gd name="T49" fmla="*/ 244541 h 337"/>
              <a:gd name="T50" fmla="*/ 118467 w 240"/>
              <a:gd name="T51" fmla="*/ 256186 h 337"/>
              <a:gd name="T52" fmla="*/ 284322 w 240"/>
              <a:gd name="T53" fmla="*/ 327025 h 337"/>
              <a:gd name="T54" fmla="*/ 292220 w 240"/>
              <a:gd name="T55" fmla="*/ 327025 h 337"/>
              <a:gd name="T56" fmla="*/ 300117 w 240"/>
              <a:gd name="T57" fmla="*/ 297913 h 337"/>
              <a:gd name="T58" fmla="*/ 308015 w 240"/>
              <a:gd name="T59" fmla="*/ 262008 h 337"/>
              <a:gd name="T60" fmla="*/ 315913 w 240"/>
              <a:gd name="T61" fmla="*/ 215429 h 337"/>
              <a:gd name="T62" fmla="*/ 300117 w 240"/>
              <a:gd name="T63" fmla="*/ 197962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0"/>
              <a:gd name="T97" fmla="*/ 0 h 337"/>
              <a:gd name="T98" fmla="*/ 240 w 240"/>
              <a:gd name="T99" fmla="*/ 337 h 3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close/>
              </a:path>
            </a:pathLst>
          </a:custGeom>
          <a:solidFill>
            <a:srgbClr val="63A1CF"/>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90" name="Freeform 1460"/>
          <p:cNvSpPr>
            <a:spLocks/>
          </p:cNvSpPr>
          <p:nvPr/>
        </p:nvSpPr>
        <p:spPr bwMode="auto">
          <a:xfrm>
            <a:off x="2317179" y="4297512"/>
            <a:ext cx="315913" cy="327025"/>
          </a:xfrm>
          <a:custGeom>
            <a:avLst/>
            <a:gdLst/>
            <a:ahLst/>
            <a:cxnLst>
              <a:cxn ang="0">
                <a:pos x="228" y="204"/>
              </a:cxn>
              <a:cxn ang="0">
                <a:pos x="228" y="198"/>
              </a:cxn>
              <a:cxn ang="0">
                <a:pos x="216" y="198"/>
              </a:cxn>
              <a:cxn ang="0">
                <a:pos x="210" y="162"/>
              </a:cxn>
              <a:cxn ang="0">
                <a:pos x="180" y="174"/>
              </a:cxn>
              <a:cxn ang="0">
                <a:pos x="156" y="156"/>
              </a:cxn>
              <a:cxn ang="0">
                <a:pos x="156" y="120"/>
              </a:cxn>
              <a:cxn ang="0">
                <a:pos x="180" y="84"/>
              </a:cxn>
              <a:cxn ang="0">
                <a:pos x="198" y="72"/>
              </a:cxn>
              <a:cxn ang="0">
                <a:pos x="204" y="54"/>
              </a:cxn>
              <a:cxn ang="0">
                <a:pos x="192" y="36"/>
              </a:cxn>
              <a:cxn ang="0">
                <a:pos x="168" y="36"/>
              </a:cxn>
              <a:cxn ang="0">
                <a:pos x="150" y="18"/>
              </a:cxn>
              <a:cxn ang="0">
                <a:pos x="120" y="0"/>
              </a:cxn>
              <a:cxn ang="0">
                <a:pos x="120" y="0"/>
              </a:cxn>
              <a:cxn ang="0">
                <a:pos x="108" y="24"/>
              </a:cxn>
              <a:cxn ang="0">
                <a:pos x="84" y="48"/>
              </a:cxn>
              <a:cxn ang="0">
                <a:pos x="66" y="54"/>
              </a:cxn>
              <a:cxn ang="0">
                <a:pos x="42" y="78"/>
              </a:cxn>
              <a:cxn ang="0">
                <a:pos x="24" y="72"/>
              </a:cxn>
              <a:cxn ang="0">
                <a:pos x="18" y="60"/>
              </a:cxn>
              <a:cxn ang="0">
                <a:pos x="0" y="72"/>
              </a:cxn>
              <a:cxn ang="0">
                <a:pos x="18" y="114"/>
              </a:cxn>
              <a:cxn ang="0">
                <a:pos x="54" y="174"/>
              </a:cxn>
              <a:cxn ang="0">
                <a:pos x="90" y="252"/>
              </a:cxn>
              <a:cxn ang="0">
                <a:pos x="90" y="264"/>
              </a:cxn>
              <a:cxn ang="0">
                <a:pos x="216" y="337"/>
              </a:cxn>
              <a:cxn ang="0">
                <a:pos x="222" y="337"/>
              </a:cxn>
              <a:cxn ang="0">
                <a:pos x="228" y="307"/>
              </a:cxn>
              <a:cxn ang="0">
                <a:pos x="234" y="270"/>
              </a:cxn>
              <a:cxn ang="0">
                <a:pos x="240" y="222"/>
              </a:cxn>
              <a:cxn ang="0">
                <a:pos x="228" y="204"/>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solidFill>
            <a:schemeClr val="accent4">
              <a:lumMod val="50000"/>
              <a:lumOff val="50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91" name="Freeform 1461"/>
          <p:cNvSpPr>
            <a:spLocks/>
          </p:cNvSpPr>
          <p:nvPr/>
        </p:nvSpPr>
        <p:spPr bwMode="auto">
          <a:xfrm>
            <a:off x="2339404" y="4260999"/>
            <a:ext cx="134938" cy="112713"/>
          </a:xfrm>
          <a:custGeom>
            <a:avLst/>
            <a:gdLst/>
            <a:ahLst/>
            <a:cxnLst>
              <a:cxn ang="0">
                <a:pos x="24" y="114"/>
              </a:cxn>
              <a:cxn ang="0">
                <a:pos x="48" y="90"/>
              </a:cxn>
              <a:cxn ang="0">
                <a:pos x="66" y="84"/>
              </a:cxn>
              <a:cxn ang="0">
                <a:pos x="90" y="60"/>
              </a:cxn>
              <a:cxn ang="0">
                <a:pos x="102" y="36"/>
              </a:cxn>
              <a:cxn ang="0">
                <a:pos x="78" y="18"/>
              </a:cxn>
              <a:cxn ang="0">
                <a:pos x="30" y="0"/>
              </a:cxn>
              <a:cxn ang="0">
                <a:pos x="24" y="12"/>
              </a:cxn>
              <a:cxn ang="0">
                <a:pos x="0" y="66"/>
              </a:cxn>
              <a:cxn ang="0">
                <a:pos x="12" y="90"/>
              </a:cxn>
              <a:cxn ang="0">
                <a:pos x="0" y="96"/>
              </a:cxn>
              <a:cxn ang="0">
                <a:pos x="6" y="108"/>
              </a:cxn>
              <a:cxn ang="0">
                <a:pos x="24" y="114"/>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solidFill>
            <a:schemeClr val="accent4">
              <a:lumMod val="50000"/>
              <a:lumOff val="50000"/>
            </a:schemeClr>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92" name="Freeform 1462"/>
          <p:cNvSpPr>
            <a:spLocks/>
          </p:cNvSpPr>
          <p:nvPr/>
        </p:nvSpPr>
        <p:spPr bwMode="auto">
          <a:xfrm>
            <a:off x="2118742" y="3986362"/>
            <a:ext cx="150812" cy="52387"/>
          </a:xfrm>
          <a:custGeom>
            <a:avLst/>
            <a:gdLst/>
            <a:ahLst/>
            <a:cxnLst>
              <a:cxn ang="0">
                <a:pos x="19" y="3"/>
              </a:cxn>
              <a:cxn ang="0">
                <a:pos x="8" y="1"/>
              </a:cxn>
              <a:cxn ang="0">
                <a:pos x="5" y="0"/>
              </a:cxn>
              <a:cxn ang="0">
                <a:pos x="1" y="3"/>
              </a:cxn>
              <a:cxn ang="0">
                <a:pos x="0" y="6"/>
              </a:cxn>
              <a:cxn ang="0">
                <a:pos x="0" y="6"/>
              </a:cxn>
              <a:cxn ang="0">
                <a:pos x="5" y="9"/>
              </a:cxn>
              <a:cxn ang="0">
                <a:pos x="12" y="6"/>
              </a:cxn>
              <a:cxn ang="0">
                <a:pos x="19" y="3"/>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solidFill>
            <a:schemeClr val="accent3"/>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93" name="Freeform 1463"/>
          <p:cNvSpPr>
            <a:spLocks/>
          </p:cNvSpPr>
          <p:nvPr/>
        </p:nvSpPr>
        <p:spPr bwMode="auto">
          <a:xfrm>
            <a:off x="2039367" y="3954612"/>
            <a:ext cx="119062" cy="74612"/>
          </a:xfrm>
          <a:custGeom>
            <a:avLst/>
            <a:gdLst/>
            <a:ahLst/>
            <a:cxnLst>
              <a:cxn ang="0">
                <a:pos x="15" y="5"/>
              </a:cxn>
              <a:cxn ang="0">
                <a:pos x="11" y="4"/>
              </a:cxn>
              <a:cxn ang="0">
                <a:pos x="11" y="0"/>
              </a:cxn>
              <a:cxn ang="0">
                <a:pos x="6" y="0"/>
              </a:cxn>
              <a:cxn ang="0">
                <a:pos x="4" y="1"/>
              </a:cxn>
              <a:cxn ang="0">
                <a:pos x="6" y="5"/>
              </a:cxn>
              <a:cxn ang="0">
                <a:pos x="3" y="5"/>
              </a:cxn>
              <a:cxn ang="0">
                <a:pos x="1" y="8"/>
              </a:cxn>
              <a:cxn ang="0">
                <a:pos x="0" y="10"/>
              </a:cxn>
              <a:cxn ang="0">
                <a:pos x="1" y="11"/>
              </a:cxn>
              <a:cxn ang="0">
                <a:pos x="7" y="12"/>
              </a:cxn>
              <a:cxn ang="0">
                <a:pos x="10" y="11"/>
              </a:cxn>
              <a:cxn ang="0">
                <a:pos x="11" y="8"/>
              </a:cxn>
              <a:cxn ang="0">
                <a:pos x="15" y="5"/>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solidFill>
            <a:schemeClr val="accent3"/>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94" name="Freeform 1464"/>
          <p:cNvSpPr>
            <a:spLocks/>
          </p:cNvSpPr>
          <p:nvPr/>
        </p:nvSpPr>
        <p:spPr bwMode="auto">
          <a:xfrm>
            <a:off x="1429767" y="3646637"/>
            <a:ext cx="754062" cy="369887"/>
          </a:xfrm>
          <a:custGeom>
            <a:avLst/>
            <a:gdLst/>
            <a:ahLst/>
            <a:cxnLst>
              <a:cxn ang="0">
                <a:pos x="486" y="348"/>
              </a:cxn>
              <a:cxn ang="0">
                <a:pos x="504" y="348"/>
              </a:cxn>
              <a:cxn ang="0">
                <a:pos x="492" y="324"/>
              </a:cxn>
              <a:cxn ang="0">
                <a:pos x="504" y="318"/>
              </a:cxn>
              <a:cxn ang="0">
                <a:pos x="534" y="318"/>
              </a:cxn>
              <a:cxn ang="0">
                <a:pos x="528" y="312"/>
              </a:cxn>
              <a:cxn ang="0">
                <a:pos x="546" y="300"/>
              </a:cxn>
              <a:cxn ang="0">
                <a:pos x="564" y="288"/>
              </a:cxn>
              <a:cxn ang="0">
                <a:pos x="576" y="240"/>
              </a:cxn>
              <a:cxn ang="0">
                <a:pos x="504" y="252"/>
              </a:cxn>
              <a:cxn ang="0">
                <a:pos x="474" y="294"/>
              </a:cxn>
              <a:cxn ang="0">
                <a:pos x="426" y="300"/>
              </a:cxn>
              <a:cxn ang="0">
                <a:pos x="378" y="240"/>
              </a:cxn>
              <a:cxn ang="0">
                <a:pos x="372" y="162"/>
              </a:cxn>
              <a:cxn ang="0">
                <a:pos x="384" y="144"/>
              </a:cxn>
              <a:cxn ang="0">
                <a:pos x="354" y="138"/>
              </a:cxn>
              <a:cxn ang="0">
                <a:pos x="330" y="114"/>
              </a:cxn>
              <a:cxn ang="0">
                <a:pos x="312" y="84"/>
              </a:cxn>
              <a:cxn ang="0">
                <a:pos x="288" y="66"/>
              </a:cxn>
              <a:cxn ang="0">
                <a:pos x="252" y="78"/>
              </a:cxn>
              <a:cxn ang="0">
                <a:pos x="204" y="24"/>
              </a:cxn>
              <a:cxn ang="0">
                <a:pos x="174" y="18"/>
              </a:cxn>
              <a:cxn ang="0">
                <a:pos x="156" y="30"/>
              </a:cxn>
              <a:cxn ang="0">
                <a:pos x="108" y="30"/>
              </a:cxn>
              <a:cxn ang="0">
                <a:pos x="48" y="0"/>
              </a:cxn>
              <a:cxn ang="0">
                <a:pos x="0" y="6"/>
              </a:cxn>
              <a:cxn ang="0">
                <a:pos x="36" y="72"/>
              </a:cxn>
              <a:cxn ang="0">
                <a:pos x="60" y="108"/>
              </a:cxn>
              <a:cxn ang="0">
                <a:pos x="54" y="120"/>
              </a:cxn>
              <a:cxn ang="0">
                <a:pos x="96" y="150"/>
              </a:cxn>
              <a:cxn ang="0">
                <a:pos x="102" y="180"/>
              </a:cxn>
              <a:cxn ang="0">
                <a:pos x="120" y="192"/>
              </a:cxn>
              <a:cxn ang="0">
                <a:pos x="144" y="216"/>
              </a:cxn>
              <a:cxn ang="0">
                <a:pos x="150" y="198"/>
              </a:cxn>
              <a:cxn ang="0">
                <a:pos x="126" y="180"/>
              </a:cxn>
              <a:cxn ang="0">
                <a:pos x="102" y="126"/>
              </a:cxn>
              <a:cxn ang="0">
                <a:pos x="60" y="66"/>
              </a:cxn>
              <a:cxn ang="0">
                <a:pos x="48" y="30"/>
              </a:cxn>
              <a:cxn ang="0">
                <a:pos x="78" y="42"/>
              </a:cxn>
              <a:cxn ang="0">
                <a:pos x="108" y="102"/>
              </a:cxn>
              <a:cxn ang="0">
                <a:pos x="120" y="120"/>
              </a:cxn>
              <a:cxn ang="0">
                <a:pos x="150" y="138"/>
              </a:cxn>
              <a:cxn ang="0">
                <a:pos x="150" y="156"/>
              </a:cxn>
              <a:cxn ang="0">
                <a:pos x="174" y="168"/>
              </a:cxn>
              <a:cxn ang="0">
                <a:pos x="186" y="186"/>
              </a:cxn>
              <a:cxn ang="0">
                <a:pos x="216" y="216"/>
              </a:cxn>
              <a:cxn ang="0">
                <a:pos x="222" y="258"/>
              </a:cxn>
              <a:cxn ang="0">
                <a:pos x="222" y="276"/>
              </a:cxn>
              <a:cxn ang="0">
                <a:pos x="300" y="324"/>
              </a:cxn>
              <a:cxn ang="0">
                <a:pos x="336" y="342"/>
              </a:cxn>
              <a:cxn ang="0">
                <a:pos x="402" y="360"/>
              </a:cxn>
              <a:cxn ang="0">
                <a:pos x="420" y="354"/>
              </a:cxn>
              <a:cxn ang="0">
                <a:pos x="438" y="354"/>
              </a:cxn>
              <a:cxn ang="0">
                <a:pos x="468" y="379"/>
              </a:cxn>
              <a:cxn ang="0">
                <a:pos x="474" y="366"/>
              </a:cxn>
              <a:cxn ang="0">
                <a:pos x="486" y="348"/>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solidFill>
            <a:schemeClr val="accent3"/>
          </a:solid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395" name="Freeform 1465"/>
          <p:cNvSpPr>
            <a:spLocks/>
          </p:cNvSpPr>
          <p:nvPr/>
        </p:nvSpPr>
        <p:spPr bwMode="auto">
          <a:xfrm rot="-852288">
            <a:off x="2663254" y="2162324"/>
            <a:ext cx="812800" cy="673100"/>
          </a:xfrm>
          <a:custGeom>
            <a:avLst/>
            <a:gdLst>
              <a:gd name="T0" fmla="*/ 551981 w 1125"/>
              <a:gd name="T1" fmla="*/ 15126 h 2047"/>
              <a:gd name="T2" fmla="*/ 505742 w 1125"/>
              <a:gd name="T3" fmla="*/ 4275 h 2047"/>
              <a:gd name="T4" fmla="*/ 470340 w 1125"/>
              <a:gd name="T5" fmla="*/ 658 h 2047"/>
              <a:gd name="T6" fmla="*/ 358354 w 1125"/>
              <a:gd name="T7" fmla="*/ 17099 h 2047"/>
              <a:gd name="T8" fmla="*/ 326565 w 1125"/>
              <a:gd name="T9" fmla="*/ 36170 h 2047"/>
              <a:gd name="T10" fmla="*/ 241311 w 1125"/>
              <a:gd name="T11" fmla="*/ 36828 h 2047"/>
              <a:gd name="T12" fmla="*/ 174120 w 1125"/>
              <a:gd name="T13" fmla="*/ 59846 h 2047"/>
              <a:gd name="T14" fmla="*/ 115598 w 1125"/>
              <a:gd name="T15" fmla="*/ 95030 h 2047"/>
              <a:gd name="T16" fmla="*/ 31790 w 1125"/>
              <a:gd name="T17" fmla="*/ 104894 h 2047"/>
              <a:gd name="T18" fmla="*/ 12282 w 1125"/>
              <a:gd name="T19" fmla="*/ 132187 h 2047"/>
              <a:gd name="T20" fmla="*/ 1445 w 1125"/>
              <a:gd name="T21" fmla="*/ 158493 h 2047"/>
              <a:gd name="T22" fmla="*/ 42627 w 1125"/>
              <a:gd name="T23" fmla="*/ 186771 h 2047"/>
              <a:gd name="T24" fmla="*/ 122101 w 1125"/>
              <a:gd name="T25" fmla="*/ 204199 h 2047"/>
              <a:gd name="T26" fmla="*/ 146665 w 1125"/>
              <a:gd name="T27" fmla="*/ 258126 h 2047"/>
              <a:gd name="T28" fmla="*/ 130770 w 1125"/>
              <a:gd name="T29" fmla="*/ 324219 h 2047"/>
              <a:gd name="T30" fmla="*/ 157503 w 1125"/>
              <a:gd name="T31" fmla="*/ 342633 h 2047"/>
              <a:gd name="T32" fmla="*/ 132215 w 1125"/>
              <a:gd name="T33" fmla="*/ 353484 h 2047"/>
              <a:gd name="T34" fmla="*/ 148833 w 1125"/>
              <a:gd name="T35" fmla="*/ 365322 h 2047"/>
              <a:gd name="T36" fmla="*/ 111263 w 1125"/>
              <a:gd name="T37" fmla="*/ 373214 h 2047"/>
              <a:gd name="T38" fmla="*/ 158225 w 1125"/>
              <a:gd name="T39" fmla="*/ 394916 h 2047"/>
              <a:gd name="T40" fmla="*/ 186402 w 1125"/>
              <a:gd name="T41" fmla="*/ 380777 h 2047"/>
              <a:gd name="T42" fmla="*/ 182067 w 1125"/>
              <a:gd name="T43" fmla="*/ 414645 h 2047"/>
              <a:gd name="T44" fmla="*/ 132938 w 1125"/>
              <a:gd name="T45" fmla="*/ 428127 h 2047"/>
              <a:gd name="T46" fmla="*/ 102593 w 1125"/>
              <a:gd name="T47" fmla="*/ 487644 h 2047"/>
              <a:gd name="T48" fmla="*/ 130048 w 1125"/>
              <a:gd name="T49" fmla="*/ 528089 h 2047"/>
              <a:gd name="T50" fmla="*/ 144498 w 1125"/>
              <a:gd name="T51" fmla="*/ 576755 h 2047"/>
              <a:gd name="T52" fmla="*/ 195072 w 1125"/>
              <a:gd name="T53" fmla="*/ 623777 h 2047"/>
              <a:gd name="T54" fmla="*/ 267321 w 1125"/>
              <a:gd name="T55" fmla="*/ 644164 h 2047"/>
              <a:gd name="T56" fmla="*/ 289718 w 1125"/>
              <a:gd name="T57" fmla="*/ 664879 h 2047"/>
              <a:gd name="T58" fmla="*/ 332345 w 1125"/>
              <a:gd name="T59" fmla="*/ 673100 h 2047"/>
              <a:gd name="T60" fmla="*/ 369914 w 1125"/>
              <a:gd name="T61" fmla="*/ 656988 h 2047"/>
              <a:gd name="T62" fmla="*/ 389422 w 1125"/>
              <a:gd name="T63" fmla="*/ 621804 h 2047"/>
              <a:gd name="T64" fmla="*/ 411819 w 1125"/>
              <a:gd name="T65" fmla="*/ 584976 h 2047"/>
              <a:gd name="T66" fmla="*/ 449388 w 1125"/>
              <a:gd name="T67" fmla="*/ 535652 h 2047"/>
              <a:gd name="T68" fmla="*/ 518747 w 1125"/>
              <a:gd name="T69" fmla="*/ 501126 h 2047"/>
              <a:gd name="T70" fmla="*/ 600388 w 1125"/>
              <a:gd name="T71" fmla="*/ 472189 h 2047"/>
              <a:gd name="T72" fmla="*/ 645182 w 1125"/>
              <a:gd name="T73" fmla="*/ 432731 h 2047"/>
              <a:gd name="T74" fmla="*/ 703704 w 1125"/>
              <a:gd name="T75" fmla="*/ 415961 h 2047"/>
              <a:gd name="T76" fmla="*/ 788958 w 1125"/>
              <a:gd name="T77" fmla="*/ 380777 h 2047"/>
              <a:gd name="T78" fmla="*/ 786068 w 1125"/>
              <a:gd name="T79" fmla="*/ 355129 h 2047"/>
              <a:gd name="T80" fmla="*/ 710206 w 1125"/>
              <a:gd name="T81" fmla="*/ 362363 h 2047"/>
              <a:gd name="T82" fmla="*/ 692144 w 1125"/>
              <a:gd name="T83" fmla="*/ 341318 h 2047"/>
              <a:gd name="T84" fmla="*/ 764393 w 1125"/>
              <a:gd name="T85" fmla="*/ 338030 h 2047"/>
              <a:gd name="T86" fmla="*/ 811355 w 1125"/>
              <a:gd name="T87" fmla="*/ 335070 h 2047"/>
              <a:gd name="T88" fmla="*/ 783900 w 1125"/>
              <a:gd name="T89" fmla="*/ 308107 h 2047"/>
              <a:gd name="T90" fmla="*/ 724656 w 1125"/>
              <a:gd name="T91" fmla="*/ 298571 h 2047"/>
              <a:gd name="T92" fmla="*/ 752833 w 1125"/>
              <a:gd name="T93" fmla="*/ 294625 h 2047"/>
              <a:gd name="T94" fmla="*/ 737661 w 1125"/>
              <a:gd name="T95" fmla="*/ 275553 h 2047"/>
              <a:gd name="T96" fmla="*/ 753556 w 1125"/>
              <a:gd name="T97" fmla="*/ 263387 h 2047"/>
              <a:gd name="T98" fmla="*/ 767283 w 1125"/>
              <a:gd name="T99" fmla="*/ 238396 h 2047"/>
              <a:gd name="T100" fmla="*/ 768728 w 1125"/>
              <a:gd name="T101" fmla="*/ 218009 h 2047"/>
              <a:gd name="T102" fmla="*/ 760058 w 1125"/>
              <a:gd name="T103" fmla="*/ 200582 h 2047"/>
              <a:gd name="T104" fmla="*/ 703704 w 1125"/>
              <a:gd name="T105" fmla="*/ 175920 h 2047"/>
              <a:gd name="T106" fmla="*/ 726824 w 1125"/>
              <a:gd name="T107" fmla="*/ 153889 h 2047"/>
              <a:gd name="T108" fmla="*/ 692144 w 1125"/>
              <a:gd name="T109" fmla="*/ 143367 h 2047"/>
              <a:gd name="T110" fmla="*/ 658910 w 1125"/>
              <a:gd name="T111" fmla="*/ 107854 h 2047"/>
              <a:gd name="T112" fmla="*/ 667580 w 1125"/>
              <a:gd name="T113" fmla="*/ 48008 h 2047"/>
              <a:gd name="T114" fmla="*/ 662522 w 1125"/>
              <a:gd name="T115" fmla="*/ 19729 h 2047"/>
              <a:gd name="T116" fmla="*/ 623508 w 1125"/>
              <a:gd name="T117" fmla="*/ 27621 h 2047"/>
              <a:gd name="T118" fmla="*/ 593163 w 1125"/>
              <a:gd name="T119" fmla="*/ 47022 h 2047"/>
              <a:gd name="T120" fmla="*/ 574379 w 1125"/>
              <a:gd name="T121" fmla="*/ 36170 h 2047"/>
              <a:gd name="T122" fmla="*/ 541867 w 1125"/>
              <a:gd name="T123" fmla="*/ 49652 h 2047"/>
              <a:gd name="T124" fmla="*/ 518747 w 1125"/>
              <a:gd name="T125" fmla="*/ 34526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25"/>
              <a:gd name="T190" fmla="*/ 0 h 2047"/>
              <a:gd name="T191" fmla="*/ 1125 w 1125"/>
              <a:gd name="T192" fmla="*/ 2047 h 204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rgbClr val="00B050"/>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96" name="Freeform 1466"/>
          <p:cNvSpPr>
            <a:spLocks/>
          </p:cNvSpPr>
          <p:nvPr/>
        </p:nvSpPr>
        <p:spPr bwMode="auto">
          <a:xfrm>
            <a:off x="1696467" y="2343299"/>
            <a:ext cx="41275" cy="26988"/>
          </a:xfrm>
          <a:custGeom>
            <a:avLst/>
            <a:gdLst>
              <a:gd name="T0" fmla="*/ 40243 w 40"/>
              <a:gd name="T1" fmla="*/ 14244 h 36"/>
              <a:gd name="T2" fmla="*/ 39211 w 40"/>
              <a:gd name="T3" fmla="*/ 15743 h 36"/>
              <a:gd name="T4" fmla="*/ 36116 w 40"/>
              <a:gd name="T5" fmla="*/ 18742 h 36"/>
              <a:gd name="T6" fmla="*/ 31988 w 40"/>
              <a:gd name="T7" fmla="*/ 21740 h 36"/>
              <a:gd name="T8" fmla="*/ 27861 w 40"/>
              <a:gd name="T9" fmla="*/ 24739 h 36"/>
              <a:gd name="T10" fmla="*/ 23733 w 40"/>
              <a:gd name="T11" fmla="*/ 26238 h 36"/>
              <a:gd name="T12" fmla="*/ 18574 w 40"/>
              <a:gd name="T13" fmla="*/ 26988 h 36"/>
              <a:gd name="T14" fmla="*/ 13414 w 40"/>
              <a:gd name="T15" fmla="*/ 26988 h 36"/>
              <a:gd name="T16" fmla="*/ 12382 w 40"/>
              <a:gd name="T17" fmla="*/ 26988 h 36"/>
              <a:gd name="T18" fmla="*/ 11351 w 40"/>
              <a:gd name="T19" fmla="*/ 26238 h 36"/>
              <a:gd name="T20" fmla="*/ 10319 w 40"/>
              <a:gd name="T21" fmla="*/ 24739 h 36"/>
              <a:gd name="T22" fmla="*/ 8255 w 40"/>
              <a:gd name="T23" fmla="*/ 23240 h 36"/>
              <a:gd name="T24" fmla="*/ 4128 w 40"/>
              <a:gd name="T25" fmla="*/ 20241 h 36"/>
              <a:gd name="T26" fmla="*/ 1032 w 40"/>
              <a:gd name="T27" fmla="*/ 17992 h 36"/>
              <a:gd name="T28" fmla="*/ 0 w 40"/>
              <a:gd name="T29" fmla="*/ 14244 h 36"/>
              <a:gd name="T30" fmla="*/ 1032 w 40"/>
              <a:gd name="T31" fmla="*/ 11995 h 36"/>
              <a:gd name="T32" fmla="*/ 7223 w 40"/>
              <a:gd name="T33" fmla="*/ 8246 h 36"/>
              <a:gd name="T34" fmla="*/ 12382 w 40"/>
              <a:gd name="T35" fmla="*/ 4498 h 36"/>
              <a:gd name="T36" fmla="*/ 16510 w 40"/>
              <a:gd name="T37" fmla="*/ 1499 h 36"/>
              <a:gd name="T38" fmla="*/ 19606 w 40"/>
              <a:gd name="T39" fmla="*/ 0 h 36"/>
              <a:gd name="T40" fmla="*/ 24765 w 40"/>
              <a:gd name="T41" fmla="*/ 750 h 36"/>
              <a:gd name="T42" fmla="*/ 31988 w 40"/>
              <a:gd name="T43" fmla="*/ 2249 h 36"/>
              <a:gd name="T44" fmla="*/ 38179 w 40"/>
              <a:gd name="T45" fmla="*/ 4498 h 36"/>
              <a:gd name="T46" fmla="*/ 41275 w 40"/>
              <a:gd name="T47" fmla="*/ 8246 h 36"/>
              <a:gd name="T48" fmla="*/ 40243 w 40"/>
              <a:gd name="T49" fmla="*/ 14244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36"/>
              <a:gd name="T77" fmla="*/ 40 w 40"/>
              <a:gd name="T78" fmla="*/ 36 h 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97" name="Freeform 1467"/>
          <p:cNvSpPr>
            <a:spLocks/>
          </p:cNvSpPr>
          <p:nvPr/>
        </p:nvSpPr>
        <p:spPr bwMode="auto">
          <a:xfrm>
            <a:off x="2048892" y="2565549"/>
            <a:ext cx="0" cy="3175"/>
          </a:xfrm>
          <a:custGeom>
            <a:avLst/>
            <a:gdLst>
              <a:gd name="T0" fmla="*/ 0 w 1"/>
              <a:gd name="T1" fmla="*/ 1588 h 4"/>
              <a:gd name="T2" fmla="*/ 0 w 1"/>
              <a:gd name="T3" fmla="*/ 794 h 4"/>
              <a:gd name="T4" fmla="*/ 0 w 1"/>
              <a:gd name="T5" fmla="*/ 794 h 4"/>
              <a:gd name="T6" fmla="*/ 0 w 1"/>
              <a:gd name="T7" fmla="*/ 0 h 4"/>
              <a:gd name="T8" fmla="*/ 0 w 1"/>
              <a:gd name="T9" fmla="*/ 0 h 4"/>
              <a:gd name="T10" fmla="*/ 0 w 1"/>
              <a:gd name="T11" fmla="*/ 1588 h 4"/>
              <a:gd name="T12" fmla="*/ 0 w 1"/>
              <a:gd name="T13" fmla="*/ 3175 h 4"/>
              <a:gd name="T14" fmla="*/ 0 w 1"/>
              <a:gd name="T15" fmla="*/ 3175 h 4"/>
              <a:gd name="T16" fmla="*/ 0 w 1"/>
              <a:gd name="T17" fmla="*/ 1588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4"/>
              <a:gd name="T29" fmla="*/ 0 w 1"/>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4">
                <a:moveTo>
                  <a:pt x="1" y="2"/>
                </a:moveTo>
                <a:lnTo>
                  <a:pt x="1" y="1"/>
                </a:lnTo>
                <a:lnTo>
                  <a:pt x="0" y="0"/>
                </a:lnTo>
                <a:lnTo>
                  <a:pt x="1" y="2"/>
                </a:lnTo>
                <a:lnTo>
                  <a:pt x="1" y="4"/>
                </a:lnTo>
                <a:lnTo>
                  <a:pt x="1" y="2"/>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98" name="Freeform 1468"/>
          <p:cNvSpPr>
            <a:spLocks/>
          </p:cNvSpPr>
          <p:nvPr/>
        </p:nvSpPr>
        <p:spPr bwMode="auto">
          <a:xfrm>
            <a:off x="2406079" y="2589362"/>
            <a:ext cx="3175" cy="4762"/>
          </a:xfrm>
          <a:custGeom>
            <a:avLst/>
            <a:gdLst>
              <a:gd name="T0" fmla="*/ 3175 w 5"/>
              <a:gd name="T1" fmla="*/ 4762 h 8"/>
              <a:gd name="T2" fmla="*/ 3175 w 5"/>
              <a:gd name="T3" fmla="*/ 3571 h 8"/>
              <a:gd name="T4" fmla="*/ 3175 w 5"/>
              <a:gd name="T5" fmla="*/ 2976 h 8"/>
              <a:gd name="T6" fmla="*/ 3175 w 5"/>
              <a:gd name="T7" fmla="*/ 1191 h 8"/>
              <a:gd name="T8" fmla="*/ 1905 w 5"/>
              <a:gd name="T9" fmla="*/ 0 h 8"/>
              <a:gd name="T10" fmla="*/ 0 w 5"/>
              <a:gd name="T11" fmla="*/ 0 h 8"/>
              <a:gd name="T12" fmla="*/ 0 w 5"/>
              <a:gd name="T13" fmla="*/ 595 h 8"/>
              <a:gd name="T14" fmla="*/ 1270 w 5"/>
              <a:gd name="T15" fmla="*/ 2976 h 8"/>
              <a:gd name="T16" fmla="*/ 3175 w 5"/>
              <a:gd name="T17" fmla="*/ 4762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8"/>
              <a:gd name="T29" fmla="*/ 5 w 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8">
                <a:moveTo>
                  <a:pt x="5" y="8"/>
                </a:moveTo>
                <a:lnTo>
                  <a:pt x="5" y="6"/>
                </a:lnTo>
                <a:lnTo>
                  <a:pt x="5" y="5"/>
                </a:lnTo>
                <a:lnTo>
                  <a:pt x="5" y="2"/>
                </a:lnTo>
                <a:lnTo>
                  <a:pt x="3" y="0"/>
                </a:lnTo>
                <a:lnTo>
                  <a:pt x="0" y="0"/>
                </a:lnTo>
                <a:lnTo>
                  <a:pt x="0" y="1"/>
                </a:lnTo>
                <a:lnTo>
                  <a:pt x="2" y="5"/>
                </a:lnTo>
                <a:lnTo>
                  <a:pt x="5" y="8"/>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399" name="Freeform 1469"/>
          <p:cNvSpPr>
            <a:spLocks/>
          </p:cNvSpPr>
          <p:nvPr/>
        </p:nvSpPr>
        <p:spPr bwMode="auto">
          <a:xfrm>
            <a:off x="2055242" y="2276624"/>
            <a:ext cx="14287" cy="11113"/>
          </a:xfrm>
          <a:custGeom>
            <a:avLst/>
            <a:gdLst>
              <a:gd name="T0" fmla="*/ 2041 w 14"/>
              <a:gd name="T1" fmla="*/ 5186 h 15"/>
              <a:gd name="T2" fmla="*/ 9185 w 14"/>
              <a:gd name="T3" fmla="*/ 9631 h 15"/>
              <a:gd name="T4" fmla="*/ 14287 w 14"/>
              <a:gd name="T5" fmla="*/ 11113 h 15"/>
              <a:gd name="T6" fmla="*/ 14287 w 14"/>
              <a:gd name="T7" fmla="*/ 10372 h 15"/>
              <a:gd name="T8" fmla="*/ 10205 w 14"/>
              <a:gd name="T9" fmla="*/ 5186 h 15"/>
              <a:gd name="T10" fmla="*/ 9185 w 14"/>
              <a:gd name="T11" fmla="*/ 3704 h 15"/>
              <a:gd name="T12" fmla="*/ 9185 w 14"/>
              <a:gd name="T13" fmla="*/ 2223 h 15"/>
              <a:gd name="T14" fmla="*/ 8164 w 14"/>
              <a:gd name="T15" fmla="*/ 741 h 15"/>
              <a:gd name="T16" fmla="*/ 7144 w 14"/>
              <a:gd name="T17" fmla="*/ 0 h 15"/>
              <a:gd name="T18" fmla="*/ 6123 w 14"/>
              <a:gd name="T19" fmla="*/ 741 h 15"/>
              <a:gd name="T20" fmla="*/ 3062 w 14"/>
              <a:gd name="T21" fmla="*/ 1482 h 15"/>
              <a:gd name="T22" fmla="*/ 2041 w 14"/>
              <a:gd name="T23" fmla="*/ 2223 h 15"/>
              <a:gd name="T24" fmla="*/ 0 w 14"/>
              <a:gd name="T25" fmla="*/ 3704 h 15"/>
              <a:gd name="T26" fmla="*/ 1021 w 14"/>
              <a:gd name="T27" fmla="*/ 4445 h 15"/>
              <a:gd name="T28" fmla="*/ 1021 w 14"/>
              <a:gd name="T29" fmla="*/ 4445 h 15"/>
              <a:gd name="T30" fmla="*/ 1021 w 14"/>
              <a:gd name="T31" fmla="*/ 4445 h 15"/>
              <a:gd name="T32" fmla="*/ 2041 w 14"/>
              <a:gd name="T33" fmla="*/ 5186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5"/>
              <a:gd name="T53" fmla="*/ 14 w 14"/>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2" y="7"/>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00" name="Freeform 1470"/>
          <p:cNvSpPr>
            <a:spLocks/>
          </p:cNvSpPr>
          <p:nvPr/>
        </p:nvSpPr>
        <p:spPr bwMode="auto">
          <a:xfrm>
            <a:off x="2242567" y="2627462"/>
            <a:ext cx="144462" cy="90487"/>
          </a:xfrm>
          <a:custGeom>
            <a:avLst/>
            <a:gdLst>
              <a:gd name="T0" fmla="*/ 132691 w 135"/>
              <a:gd name="T1" fmla="*/ 45624 h 119"/>
              <a:gd name="T2" fmla="*/ 144462 w 135"/>
              <a:gd name="T3" fmla="*/ 50946 h 119"/>
              <a:gd name="T4" fmla="*/ 138041 w 135"/>
              <a:gd name="T5" fmla="*/ 57790 h 119"/>
              <a:gd name="T6" fmla="*/ 132691 w 135"/>
              <a:gd name="T7" fmla="*/ 61592 h 119"/>
              <a:gd name="T8" fmla="*/ 126270 w 135"/>
              <a:gd name="T9" fmla="*/ 63113 h 119"/>
              <a:gd name="T10" fmla="*/ 121990 w 135"/>
              <a:gd name="T11" fmla="*/ 62352 h 119"/>
              <a:gd name="T12" fmla="*/ 108079 w 135"/>
              <a:gd name="T13" fmla="*/ 58550 h 119"/>
              <a:gd name="T14" fmla="*/ 97378 w 135"/>
              <a:gd name="T15" fmla="*/ 56269 h 119"/>
              <a:gd name="T16" fmla="*/ 87747 w 135"/>
              <a:gd name="T17" fmla="*/ 51707 h 119"/>
              <a:gd name="T18" fmla="*/ 77046 w 135"/>
              <a:gd name="T19" fmla="*/ 50186 h 119"/>
              <a:gd name="T20" fmla="*/ 75976 w 135"/>
              <a:gd name="T21" fmla="*/ 59311 h 119"/>
              <a:gd name="T22" fmla="*/ 77046 w 135"/>
              <a:gd name="T23" fmla="*/ 69956 h 119"/>
              <a:gd name="T24" fmla="*/ 65275 w 135"/>
              <a:gd name="T25" fmla="*/ 75279 h 119"/>
              <a:gd name="T26" fmla="*/ 60995 w 135"/>
              <a:gd name="T27" fmla="*/ 81362 h 119"/>
              <a:gd name="T28" fmla="*/ 56715 w 135"/>
              <a:gd name="T29" fmla="*/ 86685 h 119"/>
              <a:gd name="T30" fmla="*/ 47084 w 135"/>
              <a:gd name="T31" fmla="*/ 90487 h 119"/>
              <a:gd name="T32" fmla="*/ 41733 w 135"/>
              <a:gd name="T33" fmla="*/ 84404 h 119"/>
              <a:gd name="T34" fmla="*/ 36383 w 135"/>
              <a:gd name="T35" fmla="*/ 76039 h 119"/>
              <a:gd name="T36" fmla="*/ 24612 w 135"/>
              <a:gd name="T37" fmla="*/ 75279 h 119"/>
              <a:gd name="T38" fmla="*/ 18192 w 135"/>
              <a:gd name="T39" fmla="*/ 76800 h 119"/>
              <a:gd name="T40" fmla="*/ 3210 w 135"/>
              <a:gd name="T41" fmla="*/ 79841 h 119"/>
              <a:gd name="T42" fmla="*/ 1070 w 135"/>
              <a:gd name="T43" fmla="*/ 73758 h 119"/>
              <a:gd name="T44" fmla="*/ 9631 w 135"/>
              <a:gd name="T45" fmla="*/ 63873 h 119"/>
              <a:gd name="T46" fmla="*/ 17121 w 135"/>
              <a:gd name="T47" fmla="*/ 60071 h 119"/>
              <a:gd name="T48" fmla="*/ 14981 w 135"/>
              <a:gd name="T49" fmla="*/ 51707 h 119"/>
              <a:gd name="T50" fmla="*/ 11771 w 135"/>
              <a:gd name="T51" fmla="*/ 41822 h 119"/>
              <a:gd name="T52" fmla="*/ 12841 w 135"/>
              <a:gd name="T53" fmla="*/ 33457 h 119"/>
              <a:gd name="T54" fmla="*/ 8561 w 135"/>
              <a:gd name="T55" fmla="*/ 26614 h 119"/>
              <a:gd name="T56" fmla="*/ 8561 w 135"/>
              <a:gd name="T57" fmla="*/ 12166 h 119"/>
              <a:gd name="T58" fmla="*/ 9631 w 135"/>
              <a:gd name="T59" fmla="*/ 1521 h 119"/>
              <a:gd name="T60" fmla="*/ 19262 w 135"/>
              <a:gd name="T61" fmla="*/ 760 h 119"/>
              <a:gd name="T62" fmla="*/ 28892 w 135"/>
              <a:gd name="T63" fmla="*/ 6844 h 119"/>
              <a:gd name="T64" fmla="*/ 34243 w 135"/>
              <a:gd name="T65" fmla="*/ 19770 h 119"/>
              <a:gd name="T66" fmla="*/ 39593 w 135"/>
              <a:gd name="T67" fmla="*/ 22812 h 119"/>
              <a:gd name="T68" fmla="*/ 47084 w 135"/>
              <a:gd name="T69" fmla="*/ 19010 h 119"/>
              <a:gd name="T70" fmla="*/ 57785 w 135"/>
              <a:gd name="T71" fmla="*/ 17489 h 119"/>
              <a:gd name="T72" fmla="*/ 74906 w 135"/>
              <a:gd name="T73" fmla="*/ 19770 h 119"/>
              <a:gd name="T74" fmla="*/ 90958 w 135"/>
              <a:gd name="T75" fmla="*/ 25093 h 119"/>
              <a:gd name="T76" fmla="*/ 99518 w 135"/>
              <a:gd name="T77" fmla="*/ 36499 h 119"/>
              <a:gd name="T78" fmla="*/ 107009 w 135"/>
              <a:gd name="T79" fmla="*/ 44103 h 119"/>
              <a:gd name="T80" fmla="*/ 130551 w 135"/>
              <a:gd name="T81" fmla="*/ 44863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119"/>
              <a:gd name="T125" fmla="*/ 135 w 135"/>
              <a:gd name="T126" fmla="*/ 119 h 11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01" name="Freeform 1471"/>
          <p:cNvSpPr>
            <a:spLocks/>
          </p:cNvSpPr>
          <p:nvPr/>
        </p:nvSpPr>
        <p:spPr bwMode="auto">
          <a:xfrm>
            <a:off x="2126679" y="2355999"/>
            <a:ext cx="598488" cy="300038"/>
          </a:xfrm>
          <a:custGeom>
            <a:avLst/>
            <a:gdLst>
              <a:gd name="T0" fmla="*/ 567272 w 556"/>
              <a:gd name="T1" fmla="*/ 294721 h 395"/>
              <a:gd name="T2" fmla="*/ 539285 w 556"/>
              <a:gd name="T3" fmla="*/ 296240 h 395"/>
              <a:gd name="T4" fmla="*/ 503763 w 556"/>
              <a:gd name="T5" fmla="*/ 300038 h 395"/>
              <a:gd name="T6" fmla="*/ 473624 w 556"/>
              <a:gd name="T7" fmla="*/ 299278 h 395"/>
              <a:gd name="T8" fmla="*/ 445637 w 556"/>
              <a:gd name="T9" fmla="*/ 293202 h 395"/>
              <a:gd name="T10" fmla="*/ 404733 w 556"/>
              <a:gd name="T11" fmla="*/ 278010 h 395"/>
              <a:gd name="T12" fmla="*/ 381052 w 556"/>
              <a:gd name="T13" fmla="*/ 267376 h 395"/>
              <a:gd name="T14" fmla="*/ 332613 w 556"/>
              <a:gd name="T15" fmla="*/ 277250 h 395"/>
              <a:gd name="T16" fmla="*/ 291709 w 556"/>
              <a:gd name="T17" fmla="*/ 283327 h 395"/>
              <a:gd name="T18" fmla="*/ 279868 w 556"/>
              <a:gd name="T19" fmla="*/ 265856 h 395"/>
              <a:gd name="T20" fmla="*/ 315390 w 556"/>
              <a:gd name="T21" fmla="*/ 255982 h 395"/>
              <a:gd name="T22" fmla="*/ 355218 w 556"/>
              <a:gd name="T23" fmla="*/ 233194 h 395"/>
              <a:gd name="T24" fmla="*/ 344454 w 556"/>
              <a:gd name="T25" fmla="*/ 195974 h 395"/>
              <a:gd name="T26" fmla="*/ 311085 w 556"/>
              <a:gd name="T27" fmla="*/ 146601 h 395"/>
              <a:gd name="T28" fmla="*/ 262646 w 556"/>
              <a:gd name="T29" fmla="*/ 128371 h 395"/>
              <a:gd name="T30" fmla="*/ 217436 w 556"/>
              <a:gd name="T31" fmla="*/ 110141 h 395"/>
              <a:gd name="T32" fmla="*/ 199137 w 556"/>
              <a:gd name="T33" fmla="*/ 110900 h 395"/>
              <a:gd name="T34" fmla="*/ 165768 w 556"/>
              <a:gd name="T35" fmla="*/ 118496 h 395"/>
              <a:gd name="T36" fmla="*/ 133476 w 556"/>
              <a:gd name="T37" fmla="*/ 126092 h 395"/>
              <a:gd name="T38" fmla="*/ 102260 w 556"/>
              <a:gd name="T39" fmla="*/ 129130 h 395"/>
              <a:gd name="T40" fmla="*/ 54897 w 556"/>
              <a:gd name="T41" fmla="*/ 126092 h 395"/>
              <a:gd name="T42" fmla="*/ 19376 w 556"/>
              <a:gd name="T43" fmla="*/ 116217 h 395"/>
              <a:gd name="T44" fmla="*/ 24758 w 556"/>
              <a:gd name="T45" fmla="*/ 104823 h 395"/>
              <a:gd name="T46" fmla="*/ 45210 w 556"/>
              <a:gd name="T47" fmla="*/ 98747 h 395"/>
              <a:gd name="T48" fmla="*/ 4306 w 556"/>
              <a:gd name="T49" fmla="*/ 89632 h 395"/>
              <a:gd name="T50" fmla="*/ 0 w 556"/>
              <a:gd name="T51" fmla="*/ 57729 h 395"/>
              <a:gd name="T52" fmla="*/ 41980 w 556"/>
              <a:gd name="T53" fmla="*/ 2279 h 395"/>
              <a:gd name="T54" fmla="*/ 48439 w 556"/>
              <a:gd name="T55" fmla="*/ 53171 h 395"/>
              <a:gd name="T56" fmla="*/ 75349 w 556"/>
              <a:gd name="T57" fmla="*/ 81276 h 395"/>
              <a:gd name="T58" fmla="*/ 74273 w 556"/>
              <a:gd name="T59" fmla="*/ 2279 h 395"/>
              <a:gd name="T60" fmla="*/ 119482 w 556"/>
              <a:gd name="T61" fmla="*/ 19749 h 395"/>
              <a:gd name="T62" fmla="*/ 142087 w 556"/>
              <a:gd name="T63" fmla="*/ 39499 h 395"/>
              <a:gd name="T64" fmla="*/ 176532 w 556"/>
              <a:gd name="T65" fmla="*/ 17471 h 395"/>
              <a:gd name="T66" fmla="*/ 221742 w 556"/>
              <a:gd name="T67" fmla="*/ 33422 h 395"/>
              <a:gd name="T68" fmla="*/ 255111 w 556"/>
              <a:gd name="T69" fmla="*/ 37220 h 395"/>
              <a:gd name="T70" fmla="*/ 291709 w 556"/>
              <a:gd name="T71" fmla="*/ 44816 h 395"/>
              <a:gd name="T72" fmla="*/ 342301 w 556"/>
              <a:gd name="T73" fmla="*/ 47854 h 395"/>
              <a:gd name="T74" fmla="*/ 354141 w 556"/>
              <a:gd name="T75" fmla="*/ 54690 h 395"/>
              <a:gd name="T76" fmla="*/ 376746 w 556"/>
              <a:gd name="T77" fmla="*/ 66084 h 395"/>
              <a:gd name="T78" fmla="*/ 388587 w 556"/>
              <a:gd name="T79" fmla="*/ 77478 h 395"/>
              <a:gd name="T80" fmla="*/ 376746 w 556"/>
              <a:gd name="T81" fmla="*/ 89632 h 395"/>
              <a:gd name="T82" fmla="*/ 405809 w 556"/>
              <a:gd name="T83" fmla="*/ 101025 h 395"/>
              <a:gd name="T84" fmla="*/ 437025 w 556"/>
              <a:gd name="T85" fmla="*/ 109381 h 395"/>
              <a:gd name="T86" fmla="*/ 461783 w 556"/>
              <a:gd name="T87" fmla="*/ 108621 h 395"/>
              <a:gd name="T88" fmla="*/ 484388 w 556"/>
              <a:gd name="T89" fmla="*/ 115458 h 395"/>
              <a:gd name="T90" fmla="*/ 508069 w 556"/>
              <a:gd name="T91" fmla="*/ 115458 h 395"/>
              <a:gd name="T92" fmla="*/ 546820 w 556"/>
              <a:gd name="T93" fmla="*/ 128371 h 395"/>
              <a:gd name="T94" fmla="*/ 548973 w 556"/>
              <a:gd name="T95" fmla="*/ 145082 h 395"/>
              <a:gd name="T96" fmla="*/ 534979 w 556"/>
              <a:gd name="T97" fmla="*/ 161033 h 395"/>
              <a:gd name="T98" fmla="*/ 553278 w 556"/>
              <a:gd name="T99" fmla="*/ 181542 h 395"/>
              <a:gd name="T100" fmla="*/ 524215 w 556"/>
              <a:gd name="T101" fmla="*/ 183821 h 395"/>
              <a:gd name="T102" fmla="*/ 490846 w 556"/>
              <a:gd name="T103" fmla="*/ 171667 h 395"/>
              <a:gd name="T104" fmla="*/ 453172 w 556"/>
              <a:gd name="T105" fmla="*/ 174706 h 395"/>
              <a:gd name="T106" fmla="*/ 483311 w 556"/>
              <a:gd name="T107" fmla="*/ 199013 h 395"/>
              <a:gd name="T108" fmla="*/ 524215 w 556"/>
              <a:gd name="T109" fmla="*/ 208887 h 395"/>
              <a:gd name="T110" fmla="*/ 568348 w 556"/>
              <a:gd name="T111" fmla="*/ 223319 h 395"/>
              <a:gd name="T112" fmla="*/ 582342 w 556"/>
              <a:gd name="T113" fmla="*/ 252184 h 395"/>
              <a:gd name="T114" fmla="*/ 597412 w 556"/>
              <a:gd name="T115" fmla="*/ 271174 h 395"/>
              <a:gd name="T116" fmla="*/ 552202 w 556"/>
              <a:gd name="T117" fmla="*/ 264337 h 395"/>
              <a:gd name="T118" fmla="*/ 514527 w 556"/>
              <a:gd name="T119" fmla="*/ 258261 h 395"/>
              <a:gd name="T120" fmla="*/ 485464 w 556"/>
              <a:gd name="T121" fmla="*/ 258261 h 395"/>
              <a:gd name="T122" fmla="*/ 533903 w 556"/>
              <a:gd name="T123" fmla="*/ 271933 h 395"/>
              <a:gd name="T124" fmla="*/ 556508 w 556"/>
              <a:gd name="T125" fmla="*/ 278769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6"/>
              <a:gd name="T190" fmla="*/ 0 h 395"/>
              <a:gd name="T191" fmla="*/ 556 w 556"/>
              <a:gd name="T192" fmla="*/ 395 h 39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02" name="Freeform 1472"/>
          <p:cNvSpPr>
            <a:spLocks/>
          </p:cNvSpPr>
          <p:nvPr/>
        </p:nvSpPr>
        <p:spPr bwMode="auto">
          <a:xfrm>
            <a:off x="1609154" y="2306787"/>
            <a:ext cx="158750" cy="109537"/>
          </a:xfrm>
          <a:custGeom>
            <a:avLst/>
            <a:gdLst>
              <a:gd name="T0" fmla="*/ 156605 w 148"/>
              <a:gd name="T1" fmla="*/ 50267 h 146"/>
              <a:gd name="T2" fmla="*/ 151242 w 148"/>
              <a:gd name="T3" fmla="*/ 33011 h 146"/>
              <a:gd name="T4" fmla="*/ 138370 w 148"/>
              <a:gd name="T5" fmla="*/ 24758 h 146"/>
              <a:gd name="T6" fmla="*/ 128716 w 148"/>
              <a:gd name="T7" fmla="*/ 26259 h 146"/>
              <a:gd name="T8" fmla="*/ 119062 w 148"/>
              <a:gd name="T9" fmla="*/ 19507 h 146"/>
              <a:gd name="T10" fmla="*/ 111554 w 148"/>
              <a:gd name="T11" fmla="*/ 10504 h 146"/>
              <a:gd name="T12" fmla="*/ 94392 w 148"/>
              <a:gd name="T13" fmla="*/ 7503 h 146"/>
              <a:gd name="T14" fmla="*/ 82593 w 148"/>
              <a:gd name="T15" fmla="*/ 5252 h 146"/>
              <a:gd name="T16" fmla="*/ 72939 w 148"/>
              <a:gd name="T17" fmla="*/ 750 h 146"/>
              <a:gd name="T18" fmla="*/ 66503 w 148"/>
              <a:gd name="T19" fmla="*/ 0 h 146"/>
              <a:gd name="T20" fmla="*/ 62213 w 148"/>
              <a:gd name="T21" fmla="*/ 6002 h 146"/>
              <a:gd name="T22" fmla="*/ 61140 w 148"/>
              <a:gd name="T23" fmla="*/ 15005 h 146"/>
              <a:gd name="T24" fmla="*/ 53632 w 148"/>
              <a:gd name="T25" fmla="*/ 23258 h 146"/>
              <a:gd name="T26" fmla="*/ 34324 w 148"/>
              <a:gd name="T27" fmla="*/ 37513 h 146"/>
              <a:gd name="T28" fmla="*/ 21453 w 148"/>
              <a:gd name="T29" fmla="*/ 46516 h 146"/>
              <a:gd name="T30" fmla="*/ 3218 w 148"/>
              <a:gd name="T31" fmla="*/ 61521 h 146"/>
              <a:gd name="T32" fmla="*/ 3218 w 148"/>
              <a:gd name="T33" fmla="*/ 68273 h 146"/>
              <a:gd name="T34" fmla="*/ 6436 w 148"/>
              <a:gd name="T35" fmla="*/ 70524 h 146"/>
              <a:gd name="T36" fmla="*/ 15017 w 148"/>
              <a:gd name="T37" fmla="*/ 92281 h 146"/>
              <a:gd name="T38" fmla="*/ 16090 w 148"/>
              <a:gd name="T39" fmla="*/ 108036 h 146"/>
              <a:gd name="T40" fmla="*/ 28961 w 148"/>
              <a:gd name="T41" fmla="*/ 107286 h 146"/>
              <a:gd name="T42" fmla="*/ 38615 w 148"/>
              <a:gd name="T43" fmla="*/ 102785 h 146"/>
              <a:gd name="T44" fmla="*/ 47196 w 148"/>
              <a:gd name="T45" fmla="*/ 107286 h 146"/>
              <a:gd name="T46" fmla="*/ 58995 w 148"/>
              <a:gd name="T47" fmla="*/ 108787 h 146"/>
              <a:gd name="T48" fmla="*/ 70794 w 148"/>
              <a:gd name="T49" fmla="*/ 93031 h 146"/>
              <a:gd name="T50" fmla="*/ 89029 w 148"/>
              <a:gd name="T51" fmla="*/ 87029 h 146"/>
              <a:gd name="T52" fmla="*/ 93319 w 148"/>
              <a:gd name="T53" fmla="*/ 78026 h 146"/>
              <a:gd name="T54" fmla="*/ 97610 w 148"/>
              <a:gd name="T55" fmla="*/ 72024 h 146"/>
              <a:gd name="T56" fmla="*/ 120135 w 148"/>
              <a:gd name="T57" fmla="*/ 67523 h 146"/>
              <a:gd name="T58" fmla="*/ 137297 w 148"/>
              <a:gd name="T59" fmla="*/ 64522 h 146"/>
              <a:gd name="T60" fmla="*/ 150169 w 148"/>
              <a:gd name="T61" fmla="*/ 61521 h 146"/>
              <a:gd name="T62" fmla="*/ 156605 w 148"/>
              <a:gd name="T63" fmla="*/ 56269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8"/>
              <a:gd name="T97" fmla="*/ 0 h 146"/>
              <a:gd name="T98" fmla="*/ 148 w 148"/>
              <a:gd name="T99" fmla="*/ 146 h 14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03" name="Freeform 1473"/>
          <p:cNvSpPr>
            <a:spLocks/>
          </p:cNvSpPr>
          <p:nvPr/>
        </p:nvSpPr>
        <p:spPr bwMode="auto">
          <a:xfrm>
            <a:off x="1777429" y="2265512"/>
            <a:ext cx="144463" cy="71437"/>
          </a:xfrm>
          <a:custGeom>
            <a:avLst/>
            <a:gdLst>
              <a:gd name="T0" fmla="*/ 112964 w 133"/>
              <a:gd name="T1" fmla="*/ 3140 h 91"/>
              <a:gd name="T2" fmla="*/ 111877 w 133"/>
              <a:gd name="T3" fmla="*/ 18056 h 91"/>
              <a:gd name="T4" fmla="*/ 109705 w 133"/>
              <a:gd name="T5" fmla="*/ 27476 h 91"/>
              <a:gd name="T6" fmla="*/ 110791 w 133"/>
              <a:gd name="T7" fmla="*/ 34541 h 91"/>
              <a:gd name="T8" fmla="*/ 120567 w 133"/>
              <a:gd name="T9" fmla="*/ 33756 h 91"/>
              <a:gd name="T10" fmla="*/ 124912 w 133"/>
              <a:gd name="T11" fmla="*/ 26691 h 91"/>
              <a:gd name="T12" fmla="*/ 139032 w 133"/>
              <a:gd name="T13" fmla="*/ 32971 h 91"/>
              <a:gd name="T14" fmla="*/ 144463 w 133"/>
              <a:gd name="T15" fmla="*/ 38466 h 91"/>
              <a:gd name="T16" fmla="*/ 143377 w 133"/>
              <a:gd name="T17" fmla="*/ 47101 h 91"/>
              <a:gd name="T18" fmla="*/ 142291 w 133"/>
              <a:gd name="T19" fmla="*/ 51811 h 91"/>
              <a:gd name="T20" fmla="*/ 133601 w 133"/>
              <a:gd name="T21" fmla="*/ 61232 h 91"/>
              <a:gd name="T22" fmla="*/ 125998 w 133"/>
              <a:gd name="T23" fmla="*/ 65942 h 91"/>
              <a:gd name="T24" fmla="*/ 104274 w 133"/>
              <a:gd name="T25" fmla="*/ 63587 h 91"/>
              <a:gd name="T26" fmla="*/ 90154 w 133"/>
              <a:gd name="T27" fmla="*/ 60447 h 91"/>
              <a:gd name="T28" fmla="*/ 82550 w 133"/>
              <a:gd name="T29" fmla="*/ 65157 h 91"/>
              <a:gd name="T30" fmla="*/ 73861 w 133"/>
              <a:gd name="T31" fmla="*/ 69082 h 91"/>
              <a:gd name="T32" fmla="*/ 58654 w 133"/>
              <a:gd name="T33" fmla="*/ 71437 h 91"/>
              <a:gd name="T34" fmla="*/ 48878 w 133"/>
              <a:gd name="T35" fmla="*/ 71437 h 91"/>
              <a:gd name="T36" fmla="*/ 34758 w 133"/>
              <a:gd name="T37" fmla="*/ 69867 h 91"/>
              <a:gd name="T38" fmla="*/ 19551 w 133"/>
              <a:gd name="T39" fmla="*/ 64372 h 91"/>
              <a:gd name="T40" fmla="*/ 27155 w 133"/>
              <a:gd name="T41" fmla="*/ 60447 h 91"/>
              <a:gd name="T42" fmla="*/ 41275 w 133"/>
              <a:gd name="T43" fmla="*/ 60447 h 91"/>
              <a:gd name="T44" fmla="*/ 52137 w 133"/>
              <a:gd name="T45" fmla="*/ 54952 h 91"/>
              <a:gd name="T46" fmla="*/ 52137 w 133"/>
              <a:gd name="T47" fmla="*/ 47101 h 91"/>
              <a:gd name="T48" fmla="*/ 38017 w 133"/>
              <a:gd name="T49" fmla="*/ 51026 h 91"/>
              <a:gd name="T50" fmla="*/ 29327 w 133"/>
              <a:gd name="T51" fmla="*/ 52596 h 91"/>
              <a:gd name="T52" fmla="*/ 15207 w 133"/>
              <a:gd name="T53" fmla="*/ 44746 h 91"/>
              <a:gd name="T54" fmla="*/ 4345 w 133"/>
              <a:gd name="T55" fmla="*/ 40036 h 91"/>
              <a:gd name="T56" fmla="*/ 0 w 133"/>
              <a:gd name="T57" fmla="*/ 32971 h 91"/>
              <a:gd name="T58" fmla="*/ 2172 w 133"/>
              <a:gd name="T59" fmla="*/ 27476 h 91"/>
              <a:gd name="T60" fmla="*/ 13034 w 133"/>
              <a:gd name="T61" fmla="*/ 19626 h 91"/>
              <a:gd name="T62" fmla="*/ 16293 w 133"/>
              <a:gd name="T63" fmla="*/ 15700 h 91"/>
              <a:gd name="T64" fmla="*/ 24982 w 133"/>
              <a:gd name="T65" fmla="*/ 5495 h 91"/>
              <a:gd name="T66" fmla="*/ 30413 w 133"/>
              <a:gd name="T67" fmla="*/ 785 h 91"/>
              <a:gd name="T68" fmla="*/ 44534 w 133"/>
              <a:gd name="T69" fmla="*/ 0 h 91"/>
              <a:gd name="T70" fmla="*/ 49965 w 133"/>
              <a:gd name="T71" fmla="*/ 3925 h 91"/>
              <a:gd name="T72" fmla="*/ 49965 w 133"/>
              <a:gd name="T73" fmla="*/ 10205 h 91"/>
              <a:gd name="T74" fmla="*/ 59740 w 133"/>
              <a:gd name="T75" fmla="*/ 14915 h 91"/>
              <a:gd name="T76" fmla="*/ 60827 w 133"/>
              <a:gd name="T77" fmla="*/ 21981 h 91"/>
              <a:gd name="T78" fmla="*/ 70602 w 133"/>
              <a:gd name="T79" fmla="*/ 27476 h 91"/>
              <a:gd name="T80" fmla="*/ 73861 w 133"/>
              <a:gd name="T81" fmla="*/ 34541 h 91"/>
              <a:gd name="T82" fmla="*/ 76033 w 133"/>
              <a:gd name="T83" fmla="*/ 39251 h 91"/>
              <a:gd name="T84" fmla="*/ 86895 w 133"/>
              <a:gd name="T85" fmla="*/ 43176 h 91"/>
              <a:gd name="T86" fmla="*/ 97757 w 133"/>
              <a:gd name="T87" fmla="*/ 46316 h 91"/>
              <a:gd name="T88" fmla="*/ 98843 w 133"/>
              <a:gd name="T89" fmla="*/ 36896 h 91"/>
              <a:gd name="T90" fmla="*/ 98843 w 133"/>
              <a:gd name="T91" fmla="*/ 29046 h 91"/>
              <a:gd name="T92" fmla="*/ 95585 w 133"/>
              <a:gd name="T93" fmla="*/ 23551 h 91"/>
              <a:gd name="T94" fmla="*/ 92326 w 133"/>
              <a:gd name="T95" fmla="*/ 22766 h 91"/>
              <a:gd name="T96" fmla="*/ 91240 w 133"/>
              <a:gd name="T97" fmla="*/ 14915 h 91"/>
              <a:gd name="T98" fmla="*/ 92326 w 133"/>
              <a:gd name="T99" fmla="*/ 8635 h 91"/>
              <a:gd name="T100" fmla="*/ 102102 w 133"/>
              <a:gd name="T101" fmla="*/ 4710 h 91"/>
              <a:gd name="T102" fmla="*/ 111877 w 133"/>
              <a:gd name="T103" fmla="*/ 785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3"/>
              <a:gd name="T157" fmla="*/ 0 h 91"/>
              <a:gd name="T158" fmla="*/ 133 w 133"/>
              <a:gd name="T159" fmla="*/ 91 h 9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04" name="Freeform 1474"/>
          <p:cNvSpPr>
            <a:spLocks/>
          </p:cNvSpPr>
          <p:nvPr/>
        </p:nvSpPr>
        <p:spPr bwMode="auto">
          <a:xfrm>
            <a:off x="1717104" y="2228999"/>
            <a:ext cx="109538" cy="46038"/>
          </a:xfrm>
          <a:custGeom>
            <a:avLst/>
            <a:gdLst>
              <a:gd name="T0" fmla="*/ 81617 w 102"/>
              <a:gd name="T1" fmla="*/ 30692 h 60"/>
              <a:gd name="T2" fmla="*/ 80543 w 102"/>
              <a:gd name="T3" fmla="*/ 31459 h 60"/>
              <a:gd name="T4" fmla="*/ 77321 w 102"/>
              <a:gd name="T5" fmla="*/ 34529 h 60"/>
              <a:gd name="T6" fmla="*/ 73025 w 102"/>
              <a:gd name="T7" fmla="*/ 35296 h 60"/>
              <a:gd name="T8" fmla="*/ 70878 w 102"/>
              <a:gd name="T9" fmla="*/ 32227 h 60"/>
              <a:gd name="T10" fmla="*/ 68730 w 102"/>
              <a:gd name="T11" fmla="*/ 26856 h 60"/>
              <a:gd name="T12" fmla="*/ 65508 w 102"/>
              <a:gd name="T13" fmla="*/ 23019 h 60"/>
              <a:gd name="T14" fmla="*/ 62286 w 102"/>
              <a:gd name="T15" fmla="*/ 20717 h 60"/>
              <a:gd name="T16" fmla="*/ 60139 w 102"/>
              <a:gd name="T17" fmla="*/ 23786 h 60"/>
              <a:gd name="T18" fmla="*/ 59065 w 102"/>
              <a:gd name="T19" fmla="*/ 29157 h 60"/>
              <a:gd name="T20" fmla="*/ 59065 w 102"/>
              <a:gd name="T21" fmla="*/ 33761 h 60"/>
              <a:gd name="T22" fmla="*/ 56917 w 102"/>
              <a:gd name="T23" fmla="*/ 36063 h 60"/>
              <a:gd name="T24" fmla="*/ 51547 w 102"/>
              <a:gd name="T25" fmla="*/ 36063 h 60"/>
              <a:gd name="T26" fmla="*/ 45104 w 102"/>
              <a:gd name="T27" fmla="*/ 36063 h 60"/>
              <a:gd name="T28" fmla="*/ 40808 w 102"/>
              <a:gd name="T29" fmla="*/ 39900 h 60"/>
              <a:gd name="T30" fmla="*/ 40808 w 102"/>
              <a:gd name="T31" fmla="*/ 43736 h 60"/>
              <a:gd name="T32" fmla="*/ 40808 w 102"/>
              <a:gd name="T33" fmla="*/ 46038 h 60"/>
              <a:gd name="T34" fmla="*/ 39734 w 102"/>
              <a:gd name="T35" fmla="*/ 43736 h 60"/>
              <a:gd name="T36" fmla="*/ 35439 w 102"/>
              <a:gd name="T37" fmla="*/ 41434 h 60"/>
              <a:gd name="T38" fmla="*/ 28995 w 102"/>
              <a:gd name="T39" fmla="*/ 38365 h 60"/>
              <a:gd name="T40" fmla="*/ 23626 w 102"/>
              <a:gd name="T41" fmla="*/ 36830 h 60"/>
              <a:gd name="T42" fmla="*/ 16109 w 102"/>
              <a:gd name="T43" fmla="*/ 36830 h 60"/>
              <a:gd name="T44" fmla="*/ 6443 w 102"/>
              <a:gd name="T45" fmla="*/ 36830 h 60"/>
              <a:gd name="T46" fmla="*/ 0 w 102"/>
              <a:gd name="T47" fmla="*/ 35296 h 60"/>
              <a:gd name="T48" fmla="*/ 4296 w 102"/>
              <a:gd name="T49" fmla="*/ 30692 h 60"/>
              <a:gd name="T50" fmla="*/ 11813 w 102"/>
              <a:gd name="T51" fmla="*/ 26088 h 60"/>
              <a:gd name="T52" fmla="*/ 18256 w 102"/>
              <a:gd name="T53" fmla="*/ 23019 h 60"/>
              <a:gd name="T54" fmla="*/ 24700 w 102"/>
              <a:gd name="T55" fmla="*/ 19183 h 60"/>
              <a:gd name="T56" fmla="*/ 37587 w 102"/>
              <a:gd name="T57" fmla="*/ 14579 h 60"/>
              <a:gd name="T58" fmla="*/ 49399 w 102"/>
              <a:gd name="T59" fmla="*/ 9208 h 60"/>
              <a:gd name="T60" fmla="*/ 59065 w 102"/>
              <a:gd name="T61" fmla="*/ 5371 h 60"/>
              <a:gd name="T62" fmla="*/ 64434 w 102"/>
              <a:gd name="T63" fmla="*/ 1535 h 60"/>
              <a:gd name="T64" fmla="*/ 73025 w 102"/>
              <a:gd name="T65" fmla="*/ 0 h 60"/>
              <a:gd name="T66" fmla="*/ 81617 w 102"/>
              <a:gd name="T67" fmla="*/ 0 h 60"/>
              <a:gd name="T68" fmla="*/ 85912 w 102"/>
              <a:gd name="T69" fmla="*/ 0 h 60"/>
              <a:gd name="T70" fmla="*/ 89134 w 102"/>
              <a:gd name="T71" fmla="*/ 0 h 60"/>
              <a:gd name="T72" fmla="*/ 93429 w 102"/>
              <a:gd name="T73" fmla="*/ 0 h 60"/>
              <a:gd name="T74" fmla="*/ 99873 w 102"/>
              <a:gd name="T75" fmla="*/ 0 h 60"/>
              <a:gd name="T76" fmla="*/ 105242 w 102"/>
              <a:gd name="T77" fmla="*/ 1535 h 60"/>
              <a:gd name="T78" fmla="*/ 109538 w 102"/>
              <a:gd name="T79" fmla="*/ 4604 h 60"/>
              <a:gd name="T80" fmla="*/ 106316 w 102"/>
              <a:gd name="T81" fmla="*/ 7673 h 60"/>
              <a:gd name="T82" fmla="*/ 102021 w 102"/>
              <a:gd name="T83" fmla="*/ 11510 h 60"/>
              <a:gd name="T84" fmla="*/ 99873 w 102"/>
              <a:gd name="T85" fmla="*/ 13044 h 60"/>
              <a:gd name="T86" fmla="*/ 99873 w 102"/>
              <a:gd name="T87" fmla="*/ 14579 h 60"/>
              <a:gd name="T88" fmla="*/ 97725 w 102"/>
              <a:gd name="T89" fmla="*/ 18415 h 60"/>
              <a:gd name="T90" fmla="*/ 95577 w 102"/>
              <a:gd name="T91" fmla="*/ 23786 h 60"/>
              <a:gd name="T92" fmla="*/ 92356 w 102"/>
              <a:gd name="T93" fmla="*/ 26856 h 60"/>
              <a:gd name="T94" fmla="*/ 86986 w 102"/>
              <a:gd name="T95" fmla="*/ 29925 h 60"/>
              <a:gd name="T96" fmla="*/ 81617 w 102"/>
              <a:gd name="T97" fmla="*/ 30692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2"/>
              <a:gd name="T148" fmla="*/ 0 h 60"/>
              <a:gd name="T149" fmla="*/ 102 w 102"/>
              <a:gd name="T150" fmla="*/ 60 h 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05" name="Freeform 1475"/>
          <p:cNvSpPr>
            <a:spLocks/>
          </p:cNvSpPr>
          <p:nvPr/>
        </p:nvSpPr>
        <p:spPr bwMode="auto">
          <a:xfrm>
            <a:off x="1933004" y="2275037"/>
            <a:ext cx="92075" cy="61912"/>
          </a:xfrm>
          <a:custGeom>
            <a:avLst/>
            <a:gdLst>
              <a:gd name="T0" fmla="*/ 18201 w 86"/>
              <a:gd name="T1" fmla="*/ 9287 h 80"/>
              <a:gd name="T2" fmla="*/ 3212 w 86"/>
              <a:gd name="T3" fmla="*/ 0 h 80"/>
              <a:gd name="T4" fmla="*/ 1071 w 86"/>
              <a:gd name="T5" fmla="*/ 6965 h 80"/>
              <a:gd name="T6" fmla="*/ 3212 w 86"/>
              <a:gd name="T7" fmla="*/ 17026 h 80"/>
              <a:gd name="T8" fmla="*/ 5353 w 86"/>
              <a:gd name="T9" fmla="*/ 25539 h 80"/>
              <a:gd name="T10" fmla="*/ 11777 w 86"/>
              <a:gd name="T11" fmla="*/ 31730 h 80"/>
              <a:gd name="T12" fmla="*/ 19272 w 86"/>
              <a:gd name="T13" fmla="*/ 32504 h 80"/>
              <a:gd name="T14" fmla="*/ 25695 w 86"/>
              <a:gd name="T15" fmla="*/ 33278 h 80"/>
              <a:gd name="T16" fmla="*/ 21413 w 86"/>
              <a:gd name="T17" fmla="*/ 40243 h 80"/>
              <a:gd name="T18" fmla="*/ 25695 w 86"/>
              <a:gd name="T19" fmla="*/ 41791 h 80"/>
              <a:gd name="T20" fmla="*/ 40684 w 86"/>
              <a:gd name="T21" fmla="*/ 41017 h 80"/>
              <a:gd name="T22" fmla="*/ 44967 w 86"/>
              <a:gd name="T23" fmla="*/ 41791 h 80"/>
              <a:gd name="T24" fmla="*/ 42826 w 86"/>
              <a:gd name="T25" fmla="*/ 50304 h 80"/>
              <a:gd name="T26" fmla="*/ 40684 w 86"/>
              <a:gd name="T27" fmla="*/ 61138 h 80"/>
              <a:gd name="T28" fmla="*/ 57815 w 86"/>
              <a:gd name="T29" fmla="*/ 59590 h 80"/>
              <a:gd name="T30" fmla="*/ 77086 w 86"/>
              <a:gd name="T31" fmla="*/ 51077 h 80"/>
              <a:gd name="T32" fmla="*/ 80298 w 86"/>
              <a:gd name="T33" fmla="*/ 47982 h 80"/>
              <a:gd name="T34" fmla="*/ 77086 w 86"/>
              <a:gd name="T35" fmla="*/ 41791 h 80"/>
              <a:gd name="T36" fmla="*/ 84581 w 86"/>
              <a:gd name="T37" fmla="*/ 43338 h 80"/>
              <a:gd name="T38" fmla="*/ 92075 w 86"/>
              <a:gd name="T39" fmla="*/ 44112 h 80"/>
              <a:gd name="T40" fmla="*/ 82439 w 86"/>
              <a:gd name="T41" fmla="*/ 32504 h 80"/>
              <a:gd name="T42" fmla="*/ 76015 w 86"/>
              <a:gd name="T43" fmla="*/ 28634 h 80"/>
              <a:gd name="T44" fmla="*/ 81369 w 86"/>
              <a:gd name="T45" fmla="*/ 17026 h 80"/>
              <a:gd name="T46" fmla="*/ 81369 w 86"/>
              <a:gd name="T47" fmla="*/ 6965 h 80"/>
              <a:gd name="T48" fmla="*/ 69592 w 86"/>
              <a:gd name="T49" fmla="*/ 6191 h 80"/>
              <a:gd name="T50" fmla="*/ 67450 w 86"/>
              <a:gd name="T51" fmla="*/ 9287 h 80"/>
              <a:gd name="T52" fmla="*/ 58885 w 86"/>
              <a:gd name="T53" fmla="*/ 6191 h 80"/>
              <a:gd name="T54" fmla="*/ 50320 w 86"/>
              <a:gd name="T55" fmla="*/ 1548 h 80"/>
              <a:gd name="T56" fmla="*/ 48179 w 86"/>
              <a:gd name="T57" fmla="*/ 5417 h 80"/>
              <a:gd name="T58" fmla="*/ 51391 w 86"/>
              <a:gd name="T59" fmla="*/ 10061 h 80"/>
              <a:gd name="T60" fmla="*/ 46037 w 86"/>
              <a:gd name="T61" fmla="*/ 11608 h 80"/>
              <a:gd name="T62" fmla="*/ 37472 w 86"/>
              <a:gd name="T63" fmla="*/ 6965 h 80"/>
              <a:gd name="T64" fmla="*/ 29978 w 86"/>
              <a:gd name="T65" fmla="*/ 11608 h 80"/>
              <a:gd name="T66" fmla="*/ 23554 w 86"/>
              <a:gd name="T67" fmla="*/ 12382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6"/>
              <a:gd name="T103" fmla="*/ 0 h 80"/>
              <a:gd name="T104" fmla="*/ 86 w 86"/>
              <a:gd name="T105" fmla="*/ 80 h 8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06" name="Freeform 1476"/>
          <p:cNvSpPr>
            <a:spLocks/>
          </p:cNvSpPr>
          <p:nvPr/>
        </p:nvSpPr>
        <p:spPr bwMode="auto">
          <a:xfrm>
            <a:off x="2026667" y="2313137"/>
            <a:ext cx="36512" cy="33337"/>
          </a:xfrm>
          <a:custGeom>
            <a:avLst/>
            <a:gdLst>
              <a:gd name="T0" fmla="*/ 15034 w 34"/>
              <a:gd name="T1" fmla="*/ 2899 h 46"/>
              <a:gd name="T2" fmla="*/ 15034 w 34"/>
              <a:gd name="T3" fmla="*/ 3624 h 46"/>
              <a:gd name="T4" fmla="*/ 13960 w 34"/>
              <a:gd name="T5" fmla="*/ 5073 h 46"/>
              <a:gd name="T6" fmla="*/ 11813 w 34"/>
              <a:gd name="T7" fmla="*/ 8697 h 46"/>
              <a:gd name="T8" fmla="*/ 7517 w 34"/>
              <a:gd name="T9" fmla="*/ 10871 h 46"/>
              <a:gd name="T10" fmla="*/ 4296 w 34"/>
              <a:gd name="T11" fmla="*/ 13045 h 46"/>
              <a:gd name="T12" fmla="*/ 1074 w 34"/>
              <a:gd name="T13" fmla="*/ 16669 h 46"/>
              <a:gd name="T14" fmla="*/ 0 w 34"/>
              <a:gd name="T15" fmla="*/ 20292 h 46"/>
              <a:gd name="T16" fmla="*/ 3222 w 34"/>
              <a:gd name="T17" fmla="*/ 22466 h 46"/>
              <a:gd name="T18" fmla="*/ 7517 w 34"/>
              <a:gd name="T19" fmla="*/ 25365 h 46"/>
              <a:gd name="T20" fmla="*/ 12887 w 34"/>
              <a:gd name="T21" fmla="*/ 26815 h 46"/>
              <a:gd name="T22" fmla="*/ 17182 w 34"/>
              <a:gd name="T23" fmla="*/ 28989 h 46"/>
              <a:gd name="T24" fmla="*/ 20404 w 34"/>
              <a:gd name="T25" fmla="*/ 31888 h 46"/>
              <a:gd name="T26" fmla="*/ 23625 w 34"/>
              <a:gd name="T27" fmla="*/ 33337 h 46"/>
              <a:gd name="T28" fmla="*/ 28995 w 34"/>
              <a:gd name="T29" fmla="*/ 31888 h 46"/>
              <a:gd name="T30" fmla="*/ 33290 w 34"/>
              <a:gd name="T31" fmla="*/ 28989 h 46"/>
              <a:gd name="T32" fmla="*/ 36512 w 34"/>
              <a:gd name="T33" fmla="*/ 25365 h 46"/>
              <a:gd name="T34" fmla="*/ 36512 w 34"/>
              <a:gd name="T35" fmla="*/ 21017 h 46"/>
              <a:gd name="T36" fmla="*/ 35438 w 34"/>
              <a:gd name="T37" fmla="*/ 17393 h 46"/>
              <a:gd name="T38" fmla="*/ 32216 w 34"/>
              <a:gd name="T39" fmla="*/ 14494 h 46"/>
              <a:gd name="T40" fmla="*/ 32216 w 34"/>
              <a:gd name="T41" fmla="*/ 10871 h 46"/>
              <a:gd name="T42" fmla="*/ 31143 w 34"/>
              <a:gd name="T43" fmla="*/ 6522 h 46"/>
              <a:gd name="T44" fmla="*/ 28995 w 34"/>
              <a:gd name="T45" fmla="*/ 3624 h 46"/>
              <a:gd name="T46" fmla="*/ 24699 w 34"/>
              <a:gd name="T47" fmla="*/ 725 h 46"/>
              <a:gd name="T48" fmla="*/ 23625 w 34"/>
              <a:gd name="T49" fmla="*/ 0 h 46"/>
              <a:gd name="T50" fmla="*/ 22552 w 34"/>
              <a:gd name="T51" fmla="*/ 0 h 46"/>
              <a:gd name="T52" fmla="*/ 20404 w 34"/>
              <a:gd name="T53" fmla="*/ 0 h 46"/>
              <a:gd name="T54" fmla="*/ 17182 w 34"/>
              <a:gd name="T55" fmla="*/ 725 h 46"/>
              <a:gd name="T56" fmla="*/ 15034 w 34"/>
              <a:gd name="T57" fmla="*/ 2899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4"/>
              <a:gd name="T88" fmla="*/ 0 h 46"/>
              <a:gd name="T89" fmla="*/ 34 w 34"/>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07" name="Freeform 1477"/>
          <p:cNvSpPr>
            <a:spLocks/>
          </p:cNvSpPr>
          <p:nvPr/>
        </p:nvSpPr>
        <p:spPr bwMode="auto">
          <a:xfrm>
            <a:off x="2017142" y="2265512"/>
            <a:ext cx="215900" cy="76200"/>
          </a:xfrm>
          <a:custGeom>
            <a:avLst/>
            <a:gdLst>
              <a:gd name="T0" fmla="*/ 180629 w 202"/>
              <a:gd name="T1" fmla="*/ 22098 h 100"/>
              <a:gd name="T2" fmla="*/ 196661 w 202"/>
              <a:gd name="T3" fmla="*/ 25146 h 100"/>
              <a:gd name="T4" fmla="*/ 209487 w 202"/>
              <a:gd name="T5" fmla="*/ 31242 h 100"/>
              <a:gd name="T6" fmla="*/ 214831 w 202"/>
              <a:gd name="T7" fmla="*/ 39624 h 100"/>
              <a:gd name="T8" fmla="*/ 214831 w 202"/>
              <a:gd name="T9" fmla="*/ 51054 h 100"/>
              <a:gd name="T10" fmla="*/ 214831 w 202"/>
              <a:gd name="T11" fmla="*/ 55626 h 100"/>
              <a:gd name="T12" fmla="*/ 203074 w 202"/>
              <a:gd name="T13" fmla="*/ 61722 h 100"/>
              <a:gd name="T14" fmla="*/ 192386 w 202"/>
              <a:gd name="T15" fmla="*/ 64770 h 100"/>
              <a:gd name="T16" fmla="*/ 177423 w 202"/>
              <a:gd name="T17" fmla="*/ 64008 h 100"/>
              <a:gd name="T18" fmla="*/ 171010 w 202"/>
              <a:gd name="T19" fmla="*/ 64008 h 100"/>
              <a:gd name="T20" fmla="*/ 162459 w 202"/>
              <a:gd name="T21" fmla="*/ 68580 h 100"/>
              <a:gd name="T22" fmla="*/ 151771 w 202"/>
              <a:gd name="T23" fmla="*/ 70104 h 100"/>
              <a:gd name="T24" fmla="*/ 138946 w 202"/>
              <a:gd name="T25" fmla="*/ 70866 h 100"/>
              <a:gd name="T26" fmla="*/ 128257 w 202"/>
              <a:gd name="T27" fmla="*/ 71628 h 100"/>
              <a:gd name="T28" fmla="*/ 118638 w 202"/>
              <a:gd name="T29" fmla="*/ 74676 h 100"/>
              <a:gd name="T30" fmla="*/ 106881 w 202"/>
              <a:gd name="T31" fmla="*/ 76200 h 100"/>
              <a:gd name="T32" fmla="*/ 89780 w 202"/>
              <a:gd name="T33" fmla="*/ 75438 h 100"/>
              <a:gd name="T34" fmla="*/ 78023 w 202"/>
              <a:gd name="T35" fmla="*/ 73914 h 100"/>
              <a:gd name="T36" fmla="*/ 67335 w 202"/>
              <a:gd name="T37" fmla="*/ 68580 h 100"/>
              <a:gd name="T38" fmla="*/ 56647 w 202"/>
              <a:gd name="T39" fmla="*/ 60198 h 100"/>
              <a:gd name="T40" fmla="*/ 56647 w 202"/>
              <a:gd name="T41" fmla="*/ 46482 h 100"/>
              <a:gd name="T42" fmla="*/ 56647 w 202"/>
              <a:gd name="T43" fmla="*/ 36576 h 100"/>
              <a:gd name="T44" fmla="*/ 52372 w 202"/>
              <a:gd name="T45" fmla="*/ 29718 h 100"/>
              <a:gd name="T46" fmla="*/ 44890 w 202"/>
              <a:gd name="T47" fmla="*/ 24384 h 100"/>
              <a:gd name="T48" fmla="*/ 32064 w 202"/>
              <a:gd name="T49" fmla="*/ 25146 h 100"/>
              <a:gd name="T50" fmla="*/ 25651 w 202"/>
              <a:gd name="T51" fmla="*/ 26670 h 100"/>
              <a:gd name="T52" fmla="*/ 12826 w 202"/>
              <a:gd name="T53" fmla="*/ 19050 h 100"/>
              <a:gd name="T54" fmla="*/ 0 w 202"/>
              <a:gd name="T55" fmla="*/ 12192 h 100"/>
              <a:gd name="T56" fmla="*/ 7482 w 202"/>
              <a:gd name="T57" fmla="*/ 2286 h 100"/>
              <a:gd name="T58" fmla="*/ 20307 w 202"/>
              <a:gd name="T59" fmla="*/ 0 h 100"/>
              <a:gd name="T60" fmla="*/ 32064 w 202"/>
              <a:gd name="T61" fmla="*/ 4572 h 100"/>
              <a:gd name="T62" fmla="*/ 39546 w 202"/>
              <a:gd name="T63" fmla="*/ 12954 h 100"/>
              <a:gd name="T64" fmla="*/ 52372 w 202"/>
              <a:gd name="T65" fmla="*/ 15240 h 100"/>
              <a:gd name="T66" fmla="*/ 57716 w 202"/>
              <a:gd name="T67" fmla="*/ 9906 h 100"/>
              <a:gd name="T68" fmla="*/ 67335 w 202"/>
              <a:gd name="T69" fmla="*/ 9906 h 100"/>
              <a:gd name="T70" fmla="*/ 73748 w 202"/>
              <a:gd name="T71" fmla="*/ 12192 h 100"/>
              <a:gd name="T72" fmla="*/ 78023 w 202"/>
              <a:gd name="T73" fmla="*/ 22098 h 100"/>
              <a:gd name="T74" fmla="*/ 90849 w 202"/>
              <a:gd name="T75" fmla="*/ 32766 h 100"/>
              <a:gd name="T76" fmla="*/ 97262 w 202"/>
              <a:gd name="T77" fmla="*/ 40386 h 100"/>
              <a:gd name="T78" fmla="*/ 118638 w 202"/>
              <a:gd name="T79" fmla="*/ 38862 h 100"/>
              <a:gd name="T80" fmla="*/ 131464 w 202"/>
              <a:gd name="T81" fmla="*/ 40386 h 100"/>
              <a:gd name="T82" fmla="*/ 142152 w 202"/>
              <a:gd name="T83" fmla="*/ 35052 h 100"/>
              <a:gd name="T84" fmla="*/ 152840 w 202"/>
              <a:gd name="T85" fmla="*/ 28194 h 100"/>
              <a:gd name="T86" fmla="*/ 164597 w 202"/>
              <a:gd name="T87" fmla="*/ 22098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2"/>
              <a:gd name="T133" fmla="*/ 0 h 100"/>
              <a:gd name="T134" fmla="*/ 202 w 202"/>
              <a:gd name="T135" fmla="*/ 100 h 1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08" name="Freeform 1478"/>
          <p:cNvSpPr>
            <a:spLocks/>
          </p:cNvSpPr>
          <p:nvPr/>
        </p:nvSpPr>
        <p:spPr bwMode="auto">
          <a:xfrm>
            <a:off x="1847279" y="2216299"/>
            <a:ext cx="44450" cy="28575"/>
          </a:xfrm>
          <a:custGeom>
            <a:avLst/>
            <a:gdLst>
              <a:gd name="T0" fmla="*/ 42228 w 40"/>
              <a:gd name="T1" fmla="*/ 15446 h 37"/>
              <a:gd name="T2" fmla="*/ 41116 w 40"/>
              <a:gd name="T3" fmla="*/ 16218 h 37"/>
              <a:gd name="T4" fmla="*/ 38894 w 40"/>
              <a:gd name="T5" fmla="*/ 20080 h 37"/>
              <a:gd name="T6" fmla="*/ 35560 w 40"/>
              <a:gd name="T7" fmla="*/ 23169 h 37"/>
              <a:gd name="T8" fmla="*/ 31115 w 40"/>
              <a:gd name="T9" fmla="*/ 26258 h 37"/>
              <a:gd name="T10" fmla="*/ 26670 w 40"/>
              <a:gd name="T11" fmla="*/ 27803 h 37"/>
              <a:gd name="T12" fmla="*/ 21114 w 40"/>
              <a:gd name="T13" fmla="*/ 28575 h 37"/>
              <a:gd name="T14" fmla="*/ 15557 w 40"/>
              <a:gd name="T15" fmla="*/ 28575 h 37"/>
              <a:gd name="T16" fmla="*/ 14446 w 40"/>
              <a:gd name="T17" fmla="*/ 28575 h 37"/>
              <a:gd name="T18" fmla="*/ 13335 w 40"/>
              <a:gd name="T19" fmla="*/ 27803 h 37"/>
              <a:gd name="T20" fmla="*/ 12224 w 40"/>
              <a:gd name="T21" fmla="*/ 26258 h 37"/>
              <a:gd name="T22" fmla="*/ 10001 w 40"/>
              <a:gd name="T23" fmla="*/ 24714 h 37"/>
              <a:gd name="T24" fmla="*/ 5556 w 40"/>
              <a:gd name="T25" fmla="*/ 21624 h 37"/>
              <a:gd name="T26" fmla="*/ 2223 w 40"/>
              <a:gd name="T27" fmla="*/ 18535 h 37"/>
              <a:gd name="T28" fmla="*/ 0 w 40"/>
              <a:gd name="T29" fmla="*/ 15446 h 37"/>
              <a:gd name="T30" fmla="*/ 2223 w 40"/>
              <a:gd name="T31" fmla="*/ 13129 h 37"/>
              <a:gd name="T32" fmla="*/ 6667 w 40"/>
              <a:gd name="T33" fmla="*/ 9268 h 37"/>
              <a:gd name="T34" fmla="*/ 13335 w 40"/>
              <a:gd name="T35" fmla="*/ 5406 h 37"/>
              <a:gd name="T36" fmla="*/ 18891 w 40"/>
              <a:gd name="T37" fmla="*/ 2317 h 37"/>
              <a:gd name="T38" fmla="*/ 22225 w 40"/>
              <a:gd name="T39" fmla="*/ 0 h 37"/>
              <a:gd name="T40" fmla="*/ 27781 w 40"/>
              <a:gd name="T41" fmla="*/ 1545 h 37"/>
              <a:gd name="T42" fmla="*/ 35560 w 40"/>
              <a:gd name="T43" fmla="*/ 3089 h 37"/>
              <a:gd name="T44" fmla="*/ 41116 w 40"/>
              <a:gd name="T45" fmla="*/ 5406 h 37"/>
              <a:gd name="T46" fmla="*/ 44450 w 40"/>
              <a:gd name="T47" fmla="*/ 9268 h 37"/>
              <a:gd name="T48" fmla="*/ 42228 w 40"/>
              <a:gd name="T49" fmla="*/ 15446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37"/>
              <a:gd name="T77" fmla="*/ 40 w 40"/>
              <a:gd name="T78" fmla="*/ 37 h 3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09" name="Freeform 1479"/>
          <p:cNvSpPr>
            <a:spLocks/>
          </p:cNvSpPr>
          <p:nvPr/>
        </p:nvSpPr>
        <p:spPr bwMode="auto">
          <a:xfrm>
            <a:off x="2017142" y="2035324"/>
            <a:ext cx="215900" cy="242888"/>
          </a:xfrm>
          <a:custGeom>
            <a:avLst/>
            <a:gdLst>
              <a:gd name="T0" fmla="*/ 99894 w 201"/>
              <a:gd name="T1" fmla="*/ 210909 h 319"/>
              <a:gd name="T2" fmla="*/ 94523 w 201"/>
              <a:gd name="T3" fmla="*/ 223853 h 319"/>
              <a:gd name="T4" fmla="*/ 85930 w 201"/>
              <a:gd name="T5" fmla="*/ 234513 h 319"/>
              <a:gd name="T6" fmla="*/ 98820 w 201"/>
              <a:gd name="T7" fmla="*/ 242888 h 319"/>
              <a:gd name="T8" fmla="*/ 132118 w 201"/>
              <a:gd name="T9" fmla="*/ 242127 h 319"/>
              <a:gd name="T10" fmla="*/ 154675 w 201"/>
              <a:gd name="T11" fmla="*/ 235274 h 319"/>
              <a:gd name="T12" fmla="*/ 176157 w 201"/>
              <a:gd name="T13" fmla="*/ 231467 h 319"/>
              <a:gd name="T14" fmla="*/ 195492 w 201"/>
              <a:gd name="T15" fmla="*/ 232228 h 319"/>
              <a:gd name="T16" fmla="*/ 211603 w 201"/>
              <a:gd name="T17" fmla="*/ 220046 h 319"/>
              <a:gd name="T18" fmla="*/ 193343 w 201"/>
              <a:gd name="T19" fmla="*/ 207863 h 319"/>
              <a:gd name="T20" fmla="*/ 184750 w 201"/>
              <a:gd name="T21" fmla="*/ 200249 h 319"/>
              <a:gd name="T22" fmla="*/ 195492 w 201"/>
              <a:gd name="T23" fmla="*/ 191112 h 319"/>
              <a:gd name="T24" fmla="*/ 192269 w 201"/>
              <a:gd name="T25" fmla="*/ 178930 h 319"/>
              <a:gd name="T26" fmla="*/ 201936 w 201"/>
              <a:gd name="T27" fmla="*/ 166748 h 319"/>
              <a:gd name="T28" fmla="*/ 204085 w 201"/>
              <a:gd name="T29" fmla="*/ 142383 h 319"/>
              <a:gd name="T30" fmla="*/ 177231 w 201"/>
              <a:gd name="T31" fmla="*/ 127916 h 319"/>
              <a:gd name="T32" fmla="*/ 201936 w 201"/>
              <a:gd name="T33" fmla="*/ 113449 h 319"/>
              <a:gd name="T34" fmla="*/ 206233 w 201"/>
              <a:gd name="T35" fmla="*/ 91369 h 319"/>
              <a:gd name="T36" fmla="*/ 210529 w 201"/>
              <a:gd name="T37" fmla="*/ 68526 h 319"/>
              <a:gd name="T38" fmla="*/ 215900 w 201"/>
              <a:gd name="T39" fmla="*/ 41877 h 319"/>
              <a:gd name="T40" fmla="*/ 196566 w 201"/>
              <a:gd name="T41" fmla="*/ 41116 h 319"/>
              <a:gd name="T42" fmla="*/ 211603 w 201"/>
              <a:gd name="T43" fmla="*/ 22081 h 319"/>
              <a:gd name="T44" fmla="*/ 208381 w 201"/>
              <a:gd name="T45" fmla="*/ 4568 h 319"/>
              <a:gd name="T46" fmla="*/ 203010 w 201"/>
              <a:gd name="T47" fmla="*/ 3807 h 319"/>
              <a:gd name="T48" fmla="*/ 185824 w 201"/>
              <a:gd name="T49" fmla="*/ 2284 h 319"/>
              <a:gd name="T50" fmla="*/ 175083 w 201"/>
              <a:gd name="T51" fmla="*/ 0 h 319"/>
              <a:gd name="T52" fmla="*/ 170787 w 201"/>
              <a:gd name="T53" fmla="*/ 1523 h 319"/>
              <a:gd name="T54" fmla="*/ 155749 w 201"/>
              <a:gd name="T55" fmla="*/ 4568 h 319"/>
              <a:gd name="T56" fmla="*/ 138563 w 201"/>
              <a:gd name="T57" fmla="*/ 6853 h 319"/>
              <a:gd name="T58" fmla="*/ 129970 w 201"/>
              <a:gd name="T59" fmla="*/ 12944 h 319"/>
              <a:gd name="T60" fmla="*/ 116006 w 201"/>
              <a:gd name="T61" fmla="*/ 15228 h 319"/>
              <a:gd name="T62" fmla="*/ 93449 w 201"/>
              <a:gd name="T63" fmla="*/ 23604 h 319"/>
              <a:gd name="T64" fmla="*/ 87004 w 201"/>
              <a:gd name="T65" fmla="*/ 41116 h 319"/>
              <a:gd name="T66" fmla="*/ 79486 w 201"/>
              <a:gd name="T67" fmla="*/ 46446 h 319"/>
              <a:gd name="T68" fmla="*/ 63374 w 201"/>
              <a:gd name="T69" fmla="*/ 53298 h 319"/>
              <a:gd name="T70" fmla="*/ 49410 w 201"/>
              <a:gd name="T71" fmla="*/ 61674 h 319"/>
              <a:gd name="T72" fmla="*/ 39743 w 201"/>
              <a:gd name="T73" fmla="*/ 70811 h 319"/>
              <a:gd name="T74" fmla="*/ 47262 w 201"/>
              <a:gd name="T75" fmla="*/ 87561 h 319"/>
              <a:gd name="T76" fmla="*/ 50484 w 201"/>
              <a:gd name="T77" fmla="*/ 100505 h 319"/>
              <a:gd name="T78" fmla="*/ 46188 w 201"/>
              <a:gd name="T79" fmla="*/ 108881 h 319"/>
              <a:gd name="T80" fmla="*/ 33298 w 201"/>
              <a:gd name="T81" fmla="*/ 89846 h 319"/>
              <a:gd name="T82" fmla="*/ 22557 w 201"/>
              <a:gd name="T83" fmla="*/ 89846 h 319"/>
              <a:gd name="T84" fmla="*/ 9667 w 201"/>
              <a:gd name="T85" fmla="*/ 100505 h 319"/>
              <a:gd name="T86" fmla="*/ 0 w 201"/>
              <a:gd name="T87" fmla="*/ 126393 h 319"/>
              <a:gd name="T88" fmla="*/ 2148 w 201"/>
              <a:gd name="T89" fmla="*/ 144667 h 319"/>
              <a:gd name="T90" fmla="*/ 20408 w 201"/>
              <a:gd name="T91" fmla="*/ 151519 h 319"/>
              <a:gd name="T92" fmla="*/ 32224 w 201"/>
              <a:gd name="T93" fmla="*/ 151519 h 319"/>
              <a:gd name="T94" fmla="*/ 30076 w 201"/>
              <a:gd name="T95" fmla="*/ 160656 h 319"/>
              <a:gd name="T96" fmla="*/ 25779 w 201"/>
              <a:gd name="T97" fmla="*/ 170555 h 319"/>
              <a:gd name="T98" fmla="*/ 38669 w 201"/>
              <a:gd name="T99" fmla="*/ 181214 h 319"/>
              <a:gd name="T100" fmla="*/ 67670 w 201"/>
              <a:gd name="T101" fmla="*/ 185783 h 319"/>
              <a:gd name="T102" fmla="*/ 82708 w 201"/>
              <a:gd name="T103" fmla="*/ 174362 h 319"/>
              <a:gd name="T104" fmla="*/ 103116 w 201"/>
              <a:gd name="T105" fmla="*/ 182737 h 319"/>
              <a:gd name="T106" fmla="*/ 121377 w 201"/>
              <a:gd name="T107" fmla="*/ 200249 h 319"/>
              <a:gd name="T108" fmla="*/ 110635 w 201"/>
              <a:gd name="T109" fmla="*/ 194920 h 319"/>
              <a:gd name="T110" fmla="*/ 88079 w 201"/>
              <a:gd name="T111" fmla="*/ 196442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1"/>
              <a:gd name="T169" fmla="*/ 0 h 319"/>
              <a:gd name="T170" fmla="*/ 201 w 201"/>
              <a:gd name="T171" fmla="*/ 319 h 31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10" name="Freeform 1480"/>
          <p:cNvSpPr>
            <a:spLocks/>
          </p:cNvSpPr>
          <p:nvPr/>
        </p:nvSpPr>
        <p:spPr bwMode="auto">
          <a:xfrm>
            <a:off x="2021904" y="2236937"/>
            <a:ext cx="36513" cy="12700"/>
          </a:xfrm>
          <a:custGeom>
            <a:avLst/>
            <a:gdLst>
              <a:gd name="T0" fmla="*/ 33291 w 34"/>
              <a:gd name="T1" fmla="*/ 0 h 18"/>
              <a:gd name="T2" fmla="*/ 34365 w 34"/>
              <a:gd name="T3" fmla="*/ 706 h 18"/>
              <a:gd name="T4" fmla="*/ 36513 w 34"/>
              <a:gd name="T5" fmla="*/ 2117 h 18"/>
              <a:gd name="T6" fmla="*/ 36513 w 34"/>
              <a:gd name="T7" fmla="*/ 4233 h 18"/>
              <a:gd name="T8" fmla="*/ 32217 w 34"/>
              <a:gd name="T9" fmla="*/ 7056 h 18"/>
              <a:gd name="T10" fmla="*/ 25774 w 34"/>
              <a:gd name="T11" fmla="*/ 9878 h 18"/>
              <a:gd name="T12" fmla="*/ 23626 w 34"/>
              <a:gd name="T13" fmla="*/ 11289 h 18"/>
              <a:gd name="T14" fmla="*/ 20404 w 34"/>
              <a:gd name="T15" fmla="*/ 12700 h 18"/>
              <a:gd name="T16" fmla="*/ 12887 w 34"/>
              <a:gd name="T17" fmla="*/ 12700 h 18"/>
              <a:gd name="T18" fmla="*/ 4296 w 34"/>
              <a:gd name="T19" fmla="*/ 11289 h 18"/>
              <a:gd name="T20" fmla="*/ 0 w 34"/>
              <a:gd name="T21" fmla="*/ 9172 h 18"/>
              <a:gd name="T22" fmla="*/ 0 w 34"/>
              <a:gd name="T23" fmla="*/ 6350 h 18"/>
              <a:gd name="T24" fmla="*/ 4296 w 34"/>
              <a:gd name="T25" fmla="*/ 4939 h 18"/>
              <a:gd name="T26" fmla="*/ 15035 w 34"/>
              <a:gd name="T27" fmla="*/ 2822 h 18"/>
              <a:gd name="T28" fmla="*/ 23626 w 34"/>
              <a:gd name="T29" fmla="*/ 1411 h 18"/>
              <a:gd name="T30" fmla="*/ 31143 w 34"/>
              <a:gd name="T31" fmla="*/ 706 h 18"/>
              <a:gd name="T32" fmla="*/ 33291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18"/>
              <a:gd name="T53" fmla="*/ 34 w 34"/>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11" name="Freeform 1481"/>
          <p:cNvSpPr>
            <a:spLocks/>
          </p:cNvSpPr>
          <p:nvPr/>
        </p:nvSpPr>
        <p:spPr bwMode="auto">
          <a:xfrm>
            <a:off x="2002854" y="2202012"/>
            <a:ext cx="33338" cy="34925"/>
          </a:xfrm>
          <a:custGeom>
            <a:avLst/>
            <a:gdLst>
              <a:gd name="T0" fmla="*/ 21572 w 34"/>
              <a:gd name="T1" fmla="*/ 10629 h 46"/>
              <a:gd name="T2" fmla="*/ 19611 w 34"/>
              <a:gd name="T3" fmla="*/ 7592 h 46"/>
              <a:gd name="T4" fmla="*/ 13727 w 34"/>
              <a:gd name="T5" fmla="*/ 3796 h 46"/>
              <a:gd name="T6" fmla="*/ 6864 w 34"/>
              <a:gd name="T7" fmla="*/ 0 h 46"/>
              <a:gd name="T8" fmla="*/ 2942 w 34"/>
              <a:gd name="T9" fmla="*/ 0 h 46"/>
              <a:gd name="T10" fmla="*/ 981 w 34"/>
              <a:gd name="T11" fmla="*/ 3796 h 46"/>
              <a:gd name="T12" fmla="*/ 0 w 34"/>
              <a:gd name="T13" fmla="*/ 7592 h 46"/>
              <a:gd name="T14" fmla="*/ 981 w 34"/>
              <a:gd name="T15" fmla="*/ 11389 h 46"/>
              <a:gd name="T16" fmla="*/ 981 w 34"/>
              <a:gd name="T17" fmla="*/ 15185 h 46"/>
              <a:gd name="T18" fmla="*/ 2942 w 34"/>
              <a:gd name="T19" fmla="*/ 20499 h 46"/>
              <a:gd name="T20" fmla="*/ 3922 w 34"/>
              <a:gd name="T21" fmla="*/ 27333 h 46"/>
              <a:gd name="T22" fmla="*/ 6864 w 34"/>
              <a:gd name="T23" fmla="*/ 32647 h 46"/>
              <a:gd name="T24" fmla="*/ 10786 w 34"/>
              <a:gd name="T25" fmla="*/ 34925 h 46"/>
              <a:gd name="T26" fmla="*/ 15688 w 34"/>
              <a:gd name="T27" fmla="*/ 34925 h 46"/>
              <a:gd name="T28" fmla="*/ 20591 w 34"/>
              <a:gd name="T29" fmla="*/ 33407 h 46"/>
              <a:gd name="T30" fmla="*/ 25494 w 34"/>
              <a:gd name="T31" fmla="*/ 31888 h 46"/>
              <a:gd name="T32" fmla="*/ 28435 w 34"/>
              <a:gd name="T33" fmla="*/ 28851 h 46"/>
              <a:gd name="T34" fmla="*/ 30396 w 34"/>
              <a:gd name="T35" fmla="*/ 25055 h 46"/>
              <a:gd name="T36" fmla="*/ 33338 w 34"/>
              <a:gd name="T37" fmla="*/ 22777 h 46"/>
              <a:gd name="T38" fmla="*/ 33338 w 34"/>
              <a:gd name="T39" fmla="*/ 20499 h 46"/>
              <a:gd name="T40" fmla="*/ 29416 w 34"/>
              <a:gd name="T41" fmla="*/ 16703 h 46"/>
              <a:gd name="T42" fmla="*/ 25494 w 34"/>
              <a:gd name="T43" fmla="*/ 12907 h 46"/>
              <a:gd name="T44" fmla="*/ 22552 w 34"/>
              <a:gd name="T45" fmla="*/ 11389 h 46"/>
              <a:gd name="T46" fmla="*/ 21572 w 34"/>
              <a:gd name="T47" fmla="*/ 10629 h 46"/>
              <a:gd name="T48" fmla="*/ 21572 w 34"/>
              <a:gd name="T49" fmla="*/ 10629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
              <a:gd name="T76" fmla="*/ 0 h 46"/>
              <a:gd name="T77" fmla="*/ 34 w 34"/>
              <a:gd name="T78" fmla="*/ 46 h 4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12" name="Freeform 1482"/>
          <p:cNvSpPr>
            <a:spLocks/>
          </p:cNvSpPr>
          <p:nvPr/>
        </p:nvSpPr>
        <p:spPr bwMode="auto">
          <a:xfrm>
            <a:off x="1936179" y="2184549"/>
            <a:ext cx="60325" cy="52388"/>
          </a:xfrm>
          <a:custGeom>
            <a:avLst/>
            <a:gdLst>
              <a:gd name="T0" fmla="*/ 55125 w 58"/>
              <a:gd name="T1" fmla="*/ 26585 h 67"/>
              <a:gd name="T2" fmla="*/ 56165 w 58"/>
              <a:gd name="T3" fmla="*/ 28931 h 67"/>
              <a:gd name="T4" fmla="*/ 59285 w 58"/>
              <a:gd name="T5" fmla="*/ 34404 h 67"/>
              <a:gd name="T6" fmla="*/ 60325 w 58"/>
              <a:gd name="T7" fmla="*/ 41441 h 67"/>
              <a:gd name="T8" fmla="*/ 59285 w 58"/>
              <a:gd name="T9" fmla="*/ 46915 h 67"/>
              <a:gd name="T10" fmla="*/ 56165 w 58"/>
              <a:gd name="T11" fmla="*/ 50042 h 67"/>
              <a:gd name="T12" fmla="*/ 54084 w 58"/>
              <a:gd name="T13" fmla="*/ 51606 h 67"/>
              <a:gd name="T14" fmla="*/ 49924 w 58"/>
              <a:gd name="T15" fmla="*/ 52388 h 67"/>
              <a:gd name="T16" fmla="*/ 45764 w 58"/>
              <a:gd name="T17" fmla="*/ 50824 h 67"/>
              <a:gd name="T18" fmla="*/ 40563 w 58"/>
              <a:gd name="T19" fmla="*/ 48478 h 67"/>
              <a:gd name="T20" fmla="*/ 36403 w 58"/>
              <a:gd name="T21" fmla="*/ 46915 h 67"/>
              <a:gd name="T22" fmla="*/ 33283 w 58"/>
              <a:gd name="T23" fmla="*/ 45351 h 67"/>
              <a:gd name="T24" fmla="*/ 30162 w 58"/>
              <a:gd name="T25" fmla="*/ 41441 h 67"/>
              <a:gd name="T26" fmla="*/ 24962 w 58"/>
              <a:gd name="T27" fmla="*/ 39096 h 67"/>
              <a:gd name="T28" fmla="*/ 17681 w 58"/>
              <a:gd name="T29" fmla="*/ 38314 h 67"/>
              <a:gd name="T30" fmla="*/ 12481 w 58"/>
              <a:gd name="T31" fmla="*/ 36750 h 67"/>
              <a:gd name="T32" fmla="*/ 8321 w 58"/>
              <a:gd name="T33" fmla="*/ 32840 h 67"/>
              <a:gd name="T34" fmla="*/ 9361 w 58"/>
              <a:gd name="T35" fmla="*/ 28931 h 67"/>
              <a:gd name="T36" fmla="*/ 13521 w 58"/>
              <a:gd name="T37" fmla="*/ 28931 h 67"/>
              <a:gd name="T38" fmla="*/ 15601 w 58"/>
              <a:gd name="T39" fmla="*/ 28149 h 67"/>
              <a:gd name="T40" fmla="*/ 13521 w 58"/>
              <a:gd name="T41" fmla="*/ 23457 h 67"/>
              <a:gd name="T42" fmla="*/ 7281 w 58"/>
              <a:gd name="T43" fmla="*/ 15638 h 67"/>
              <a:gd name="T44" fmla="*/ 2080 w 58"/>
              <a:gd name="T45" fmla="*/ 8601 h 67"/>
              <a:gd name="T46" fmla="*/ 0 w 58"/>
              <a:gd name="T47" fmla="*/ 3128 h 67"/>
              <a:gd name="T48" fmla="*/ 4160 w 58"/>
              <a:gd name="T49" fmla="*/ 0 h 67"/>
              <a:gd name="T50" fmla="*/ 9361 w 58"/>
              <a:gd name="T51" fmla="*/ 0 h 67"/>
              <a:gd name="T52" fmla="*/ 14561 w 58"/>
              <a:gd name="T53" fmla="*/ 0 h 67"/>
              <a:gd name="T54" fmla="*/ 19762 w 58"/>
              <a:gd name="T55" fmla="*/ 1564 h 67"/>
              <a:gd name="T56" fmla="*/ 23922 w 58"/>
              <a:gd name="T57" fmla="*/ 6255 h 67"/>
              <a:gd name="T58" fmla="*/ 29122 w 58"/>
              <a:gd name="T59" fmla="*/ 10165 h 67"/>
              <a:gd name="T60" fmla="*/ 35363 w 58"/>
              <a:gd name="T61" fmla="*/ 11729 h 67"/>
              <a:gd name="T62" fmla="*/ 39523 w 58"/>
              <a:gd name="T63" fmla="*/ 12511 h 67"/>
              <a:gd name="T64" fmla="*/ 41603 w 58"/>
              <a:gd name="T65" fmla="*/ 14856 h 67"/>
              <a:gd name="T66" fmla="*/ 44724 w 58"/>
              <a:gd name="T67" fmla="*/ 18766 h 67"/>
              <a:gd name="T68" fmla="*/ 48884 w 58"/>
              <a:gd name="T69" fmla="*/ 22675 h 67"/>
              <a:gd name="T70" fmla="*/ 53044 w 58"/>
              <a:gd name="T71" fmla="*/ 25021 h 67"/>
              <a:gd name="T72" fmla="*/ 55125 w 58"/>
              <a:gd name="T73" fmla="*/ 26585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8"/>
              <a:gd name="T112" fmla="*/ 0 h 67"/>
              <a:gd name="T113" fmla="*/ 58 w 58"/>
              <a:gd name="T114" fmla="*/ 67 h 6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13" name="Freeform 1483"/>
          <p:cNvSpPr>
            <a:spLocks/>
          </p:cNvSpPr>
          <p:nvPr/>
        </p:nvSpPr>
        <p:spPr bwMode="auto">
          <a:xfrm>
            <a:off x="1693292" y="2370287"/>
            <a:ext cx="269875" cy="176212"/>
          </a:xfrm>
          <a:custGeom>
            <a:avLst/>
            <a:gdLst>
              <a:gd name="T0" fmla="*/ 269875 w 249"/>
              <a:gd name="T1" fmla="*/ 133494 h 231"/>
              <a:gd name="T2" fmla="*/ 255785 w 249"/>
              <a:gd name="T3" fmla="*/ 142648 h 231"/>
              <a:gd name="T4" fmla="*/ 244947 w 249"/>
              <a:gd name="T5" fmla="*/ 144173 h 231"/>
              <a:gd name="T6" fmla="*/ 250366 w 249"/>
              <a:gd name="T7" fmla="*/ 167821 h 231"/>
              <a:gd name="T8" fmla="*/ 222186 w 249"/>
              <a:gd name="T9" fmla="*/ 176212 h 231"/>
              <a:gd name="T10" fmla="*/ 192923 w 249"/>
              <a:gd name="T11" fmla="*/ 160193 h 231"/>
              <a:gd name="T12" fmla="*/ 176665 w 249"/>
              <a:gd name="T13" fmla="*/ 149513 h 231"/>
              <a:gd name="T14" fmla="*/ 166911 w 249"/>
              <a:gd name="T15" fmla="*/ 149513 h 231"/>
              <a:gd name="T16" fmla="*/ 133312 w 249"/>
              <a:gd name="T17" fmla="*/ 162481 h 231"/>
              <a:gd name="T18" fmla="*/ 96461 w 249"/>
              <a:gd name="T19" fmla="*/ 168584 h 231"/>
              <a:gd name="T20" fmla="*/ 79120 w 249"/>
              <a:gd name="T21" fmla="*/ 168584 h 231"/>
              <a:gd name="T22" fmla="*/ 56359 w 249"/>
              <a:gd name="T23" fmla="*/ 164007 h 231"/>
              <a:gd name="T24" fmla="*/ 47689 w 249"/>
              <a:gd name="T25" fmla="*/ 155616 h 231"/>
              <a:gd name="T26" fmla="*/ 27096 w 249"/>
              <a:gd name="T27" fmla="*/ 131968 h 231"/>
              <a:gd name="T28" fmla="*/ 1084 w 249"/>
              <a:gd name="T29" fmla="*/ 119763 h 231"/>
              <a:gd name="T30" fmla="*/ 1084 w 249"/>
              <a:gd name="T31" fmla="*/ 99167 h 231"/>
              <a:gd name="T32" fmla="*/ 29264 w 249"/>
              <a:gd name="T33" fmla="*/ 98404 h 231"/>
              <a:gd name="T34" fmla="*/ 61779 w 249"/>
              <a:gd name="T35" fmla="*/ 108321 h 231"/>
              <a:gd name="T36" fmla="*/ 88875 w 249"/>
              <a:gd name="T37" fmla="*/ 115186 h 231"/>
              <a:gd name="T38" fmla="*/ 87791 w 249"/>
              <a:gd name="T39" fmla="*/ 96116 h 231"/>
              <a:gd name="T40" fmla="*/ 47689 w 249"/>
              <a:gd name="T41" fmla="*/ 89250 h 231"/>
              <a:gd name="T42" fmla="*/ 13006 w 249"/>
              <a:gd name="T43" fmla="*/ 86962 h 231"/>
              <a:gd name="T44" fmla="*/ 2168 w 249"/>
              <a:gd name="T45" fmla="*/ 68654 h 231"/>
              <a:gd name="T46" fmla="*/ 30347 w 249"/>
              <a:gd name="T47" fmla="*/ 64077 h 231"/>
              <a:gd name="T48" fmla="*/ 20593 w 249"/>
              <a:gd name="T49" fmla="*/ 51872 h 231"/>
              <a:gd name="T50" fmla="*/ 3252 w 249"/>
              <a:gd name="T51" fmla="*/ 33564 h 231"/>
              <a:gd name="T52" fmla="*/ 22761 w 249"/>
              <a:gd name="T53" fmla="*/ 25173 h 231"/>
              <a:gd name="T54" fmla="*/ 30347 w 249"/>
              <a:gd name="T55" fmla="*/ 11442 h 231"/>
              <a:gd name="T56" fmla="*/ 55276 w 249"/>
              <a:gd name="T57" fmla="*/ 5340 h 231"/>
              <a:gd name="T58" fmla="*/ 95378 w 249"/>
              <a:gd name="T59" fmla="*/ 2288 h 231"/>
              <a:gd name="T60" fmla="*/ 88875 w 249"/>
              <a:gd name="T61" fmla="*/ 20596 h 231"/>
              <a:gd name="T62" fmla="*/ 110551 w 249"/>
              <a:gd name="T63" fmla="*/ 20596 h 231"/>
              <a:gd name="T64" fmla="*/ 134396 w 249"/>
              <a:gd name="T65" fmla="*/ 35853 h 231"/>
              <a:gd name="T66" fmla="*/ 135479 w 249"/>
              <a:gd name="T67" fmla="*/ 20596 h 231"/>
              <a:gd name="T68" fmla="*/ 157156 w 249"/>
              <a:gd name="T69" fmla="*/ 35853 h 231"/>
              <a:gd name="T70" fmla="*/ 164743 w 249"/>
              <a:gd name="T71" fmla="*/ 63314 h 231"/>
              <a:gd name="T72" fmla="*/ 175581 w 249"/>
              <a:gd name="T73" fmla="*/ 38904 h 231"/>
              <a:gd name="T74" fmla="*/ 170162 w 249"/>
              <a:gd name="T75" fmla="*/ 20596 h 231"/>
              <a:gd name="T76" fmla="*/ 187504 w 249"/>
              <a:gd name="T77" fmla="*/ 17545 h 231"/>
              <a:gd name="T78" fmla="*/ 196174 w 249"/>
              <a:gd name="T79" fmla="*/ 14494 h 231"/>
              <a:gd name="T80" fmla="*/ 186420 w 249"/>
              <a:gd name="T81" fmla="*/ 5340 h 231"/>
              <a:gd name="T82" fmla="*/ 214599 w 249"/>
              <a:gd name="T83" fmla="*/ 3814 h 231"/>
              <a:gd name="T84" fmla="*/ 230857 w 249"/>
              <a:gd name="T85" fmla="*/ 11442 h 231"/>
              <a:gd name="T86" fmla="*/ 215683 w 249"/>
              <a:gd name="T87" fmla="*/ 29750 h 231"/>
              <a:gd name="T88" fmla="*/ 211348 w 249"/>
              <a:gd name="T89" fmla="*/ 45769 h 231"/>
              <a:gd name="T90" fmla="*/ 217851 w 249"/>
              <a:gd name="T91" fmla="*/ 74757 h 231"/>
              <a:gd name="T92" fmla="*/ 214599 w 249"/>
              <a:gd name="T93" fmla="*/ 87725 h 231"/>
              <a:gd name="T94" fmla="*/ 226522 w 249"/>
              <a:gd name="T95" fmla="*/ 107558 h 231"/>
              <a:gd name="T96" fmla="*/ 256869 w 249"/>
              <a:gd name="T97" fmla="*/ 122052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9"/>
              <a:gd name="T148" fmla="*/ 0 h 231"/>
              <a:gd name="T149" fmla="*/ 249 w 249"/>
              <a:gd name="T150" fmla="*/ 231 h 2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solidFill>
            <a:schemeClr val="bg2"/>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14" name="Freeform 1484"/>
          <p:cNvSpPr>
            <a:spLocks/>
          </p:cNvSpPr>
          <p:nvPr/>
        </p:nvSpPr>
        <p:spPr bwMode="auto">
          <a:xfrm>
            <a:off x="2599754" y="4694387"/>
            <a:ext cx="403225" cy="762000"/>
          </a:xfrm>
          <a:custGeom>
            <a:avLst/>
            <a:gdLst/>
            <a:ahLst/>
            <a:cxnLst>
              <a:cxn ang="0">
                <a:pos x="54" y="7"/>
              </a:cxn>
              <a:cxn ang="0">
                <a:pos x="68" y="0"/>
              </a:cxn>
              <a:cxn ang="0">
                <a:pos x="77" y="16"/>
              </a:cxn>
              <a:cxn ang="0">
                <a:pos x="107" y="31"/>
              </a:cxn>
              <a:cxn ang="0">
                <a:pos x="110" y="48"/>
              </a:cxn>
              <a:cxn ang="0">
                <a:pos x="116" y="57"/>
              </a:cxn>
              <a:cxn ang="0">
                <a:pos x="146" y="43"/>
              </a:cxn>
              <a:cxn ang="0">
                <a:pos x="140" y="64"/>
              </a:cxn>
              <a:cxn ang="0">
                <a:pos x="114" y="85"/>
              </a:cxn>
              <a:cxn ang="0">
                <a:pos x="107" y="99"/>
              </a:cxn>
              <a:cxn ang="0">
                <a:pos x="110" y="121"/>
              </a:cxn>
              <a:cxn ang="0">
                <a:pos x="117" y="129"/>
              </a:cxn>
              <a:cxn ang="0">
                <a:pos x="105" y="129"/>
              </a:cxn>
              <a:cxn ang="0">
                <a:pos x="125" y="141"/>
              </a:cxn>
              <a:cxn ang="0">
                <a:pos x="122" y="162"/>
              </a:cxn>
              <a:cxn ang="0">
                <a:pos x="111" y="169"/>
              </a:cxn>
              <a:cxn ang="0">
                <a:pos x="84" y="178"/>
              </a:cxn>
              <a:cxn ang="0">
                <a:pos x="69" y="202"/>
              </a:cxn>
              <a:cxn ang="0">
                <a:pos x="56" y="207"/>
              </a:cxn>
              <a:cxn ang="0">
                <a:pos x="62" y="216"/>
              </a:cxn>
              <a:cxn ang="0">
                <a:pos x="53" y="238"/>
              </a:cxn>
              <a:cxn ang="0">
                <a:pos x="33" y="261"/>
              </a:cxn>
              <a:cxn ang="0">
                <a:pos x="35" y="274"/>
              </a:cxn>
              <a:cxn ang="0">
                <a:pos x="42" y="282"/>
              </a:cxn>
              <a:cxn ang="0">
                <a:pos x="38" y="300"/>
              </a:cxn>
              <a:cxn ang="0">
                <a:pos x="26" y="318"/>
              </a:cxn>
              <a:cxn ang="0">
                <a:pos x="14" y="336"/>
              </a:cxn>
              <a:cxn ang="0">
                <a:pos x="29" y="367"/>
              </a:cxn>
              <a:cxn ang="0">
                <a:pos x="7" y="345"/>
              </a:cxn>
              <a:cxn ang="0">
                <a:pos x="1" y="338"/>
              </a:cxn>
              <a:cxn ang="0">
                <a:pos x="0" y="306"/>
              </a:cxn>
              <a:cxn ang="0">
                <a:pos x="24" y="154"/>
              </a:cxn>
              <a:cxn ang="0">
                <a:pos x="12" y="224"/>
              </a:cxn>
              <a:cxn ang="0">
                <a:pos x="35" y="87"/>
              </a:cxn>
              <a:cxn ang="0">
                <a:pos x="47" y="52"/>
              </a:cxn>
              <a:cxn ang="0">
                <a:pos x="57" y="33"/>
              </a:cxn>
              <a:cxn ang="0">
                <a:pos x="54" y="7"/>
              </a:cxn>
            </a:cxnLst>
            <a:rect l="0" t="0" r="r" b="b"/>
            <a:pathLst>
              <a:path w="146" h="367">
                <a:moveTo>
                  <a:pt x="54" y="7"/>
                </a:moveTo>
                <a:lnTo>
                  <a:pt x="68" y="0"/>
                </a:lnTo>
                <a:lnTo>
                  <a:pt x="77" y="16"/>
                </a:lnTo>
                <a:lnTo>
                  <a:pt x="107" y="31"/>
                </a:lnTo>
                <a:lnTo>
                  <a:pt x="110" y="48"/>
                </a:lnTo>
                <a:lnTo>
                  <a:pt x="116" y="57"/>
                </a:lnTo>
                <a:lnTo>
                  <a:pt x="146" y="43"/>
                </a:lnTo>
                <a:lnTo>
                  <a:pt x="140" y="64"/>
                </a:lnTo>
                <a:lnTo>
                  <a:pt x="114" y="85"/>
                </a:lnTo>
                <a:lnTo>
                  <a:pt x="107" y="99"/>
                </a:lnTo>
                <a:lnTo>
                  <a:pt x="110" y="121"/>
                </a:lnTo>
                <a:lnTo>
                  <a:pt x="117" y="129"/>
                </a:lnTo>
                <a:lnTo>
                  <a:pt x="105" y="129"/>
                </a:lnTo>
                <a:lnTo>
                  <a:pt x="125" y="141"/>
                </a:lnTo>
                <a:lnTo>
                  <a:pt x="122" y="162"/>
                </a:lnTo>
                <a:lnTo>
                  <a:pt x="111" y="169"/>
                </a:lnTo>
                <a:lnTo>
                  <a:pt x="84" y="178"/>
                </a:lnTo>
                <a:lnTo>
                  <a:pt x="69" y="202"/>
                </a:lnTo>
                <a:lnTo>
                  <a:pt x="56" y="207"/>
                </a:lnTo>
                <a:lnTo>
                  <a:pt x="62" y="216"/>
                </a:lnTo>
                <a:lnTo>
                  <a:pt x="53" y="238"/>
                </a:lnTo>
                <a:lnTo>
                  <a:pt x="33" y="261"/>
                </a:lnTo>
                <a:lnTo>
                  <a:pt x="35" y="274"/>
                </a:lnTo>
                <a:lnTo>
                  <a:pt x="42" y="282"/>
                </a:lnTo>
                <a:lnTo>
                  <a:pt x="38" y="300"/>
                </a:lnTo>
                <a:lnTo>
                  <a:pt x="26" y="318"/>
                </a:lnTo>
                <a:lnTo>
                  <a:pt x="14" y="336"/>
                </a:lnTo>
                <a:lnTo>
                  <a:pt x="29" y="367"/>
                </a:lnTo>
                <a:lnTo>
                  <a:pt x="7" y="345"/>
                </a:lnTo>
                <a:lnTo>
                  <a:pt x="1" y="338"/>
                </a:lnTo>
                <a:lnTo>
                  <a:pt x="0" y="306"/>
                </a:lnTo>
                <a:lnTo>
                  <a:pt x="24" y="154"/>
                </a:lnTo>
                <a:lnTo>
                  <a:pt x="12" y="224"/>
                </a:lnTo>
                <a:lnTo>
                  <a:pt x="35" y="87"/>
                </a:lnTo>
                <a:lnTo>
                  <a:pt x="47" y="52"/>
                </a:lnTo>
                <a:lnTo>
                  <a:pt x="57" y="33"/>
                </a:lnTo>
                <a:lnTo>
                  <a:pt x="54" y="7"/>
                </a:lnTo>
                <a:close/>
              </a:path>
            </a:pathLst>
          </a:custGeom>
          <a:solidFill>
            <a:schemeClr val="accent2">
              <a:lumMod val="40000"/>
              <a:lumOff val="60000"/>
            </a:schemeClr>
          </a:solidFill>
          <a:ln w="9525" cap="flat" cmpd="sng">
            <a:solidFill>
              <a:schemeClr val="bg1"/>
            </a:solidFill>
            <a:prstDash val="solid"/>
            <a:round/>
            <a:headEnd type="none" w="med" len="med"/>
            <a:tailEnd type="none" w="med" len="med"/>
          </a:ln>
          <a:effectLst/>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415" name="Freeform 1485"/>
          <p:cNvSpPr>
            <a:spLocks/>
          </p:cNvSpPr>
          <p:nvPr/>
        </p:nvSpPr>
        <p:spPr bwMode="auto">
          <a:xfrm>
            <a:off x="2721992" y="3972074"/>
            <a:ext cx="36512" cy="14288"/>
          </a:xfrm>
          <a:custGeom>
            <a:avLst/>
            <a:gdLst/>
            <a:ahLst/>
            <a:cxnLst>
              <a:cxn ang="0">
                <a:pos x="2" y="0"/>
              </a:cxn>
              <a:cxn ang="0">
                <a:pos x="23" y="1"/>
              </a:cxn>
              <a:cxn ang="0">
                <a:pos x="21" y="18"/>
              </a:cxn>
              <a:cxn ang="0">
                <a:pos x="0" y="13"/>
              </a:cxn>
              <a:cxn ang="0">
                <a:pos x="2" y="0"/>
              </a:cxn>
            </a:cxnLst>
            <a:rect l="0" t="0" r="r" b="b"/>
            <a:pathLst>
              <a:path w="23" h="18">
                <a:moveTo>
                  <a:pt x="2" y="0"/>
                </a:moveTo>
                <a:lnTo>
                  <a:pt x="23" y="1"/>
                </a:lnTo>
                <a:lnTo>
                  <a:pt x="21" y="18"/>
                </a:lnTo>
                <a:lnTo>
                  <a:pt x="0" y="13"/>
                </a:lnTo>
                <a:lnTo>
                  <a:pt x="2" y="0"/>
                </a:lnTo>
                <a:close/>
              </a:path>
            </a:pathLst>
          </a:custGeom>
          <a:solidFill>
            <a:schemeClr val="accent3"/>
          </a:solidFill>
          <a:ln w="6350" cap="flat" cmpd="sng">
            <a:solidFill>
              <a:srgbClr val="FFFFFF"/>
            </a:solidFill>
            <a:prstDash val="solid"/>
            <a:round/>
            <a:headEnd type="none" w="med" len="med"/>
            <a:tailEnd type="none" w="med" len="med"/>
          </a:ln>
          <a:effectLst/>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416" name="Freeform 1486"/>
          <p:cNvSpPr>
            <a:spLocks/>
          </p:cNvSpPr>
          <p:nvPr/>
        </p:nvSpPr>
        <p:spPr bwMode="auto">
          <a:xfrm>
            <a:off x="6871717" y="3887937"/>
            <a:ext cx="201612" cy="271462"/>
          </a:xfrm>
          <a:custGeom>
            <a:avLst/>
            <a:gdLst>
              <a:gd name="T0" fmla="*/ 13190 w 107"/>
              <a:gd name="T1" fmla="*/ 12859 h 190"/>
              <a:gd name="T2" fmla="*/ 0 w 107"/>
              <a:gd name="T3" fmla="*/ 32861 h 190"/>
              <a:gd name="T4" fmla="*/ 28263 w 107"/>
              <a:gd name="T5" fmla="*/ 67151 h 190"/>
              <a:gd name="T6" fmla="*/ 28263 w 107"/>
              <a:gd name="T7" fmla="*/ 85725 h 190"/>
              <a:gd name="T8" fmla="*/ 41453 w 107"/>
              <a:gd name="T9" fmla="*/ 111442 h 190"/>
              <a:gd name="T10" fmla="*/ 35800 w 107"/>
              <a:gd name="T11" fmla="*/ 132874 h 190"/>
              <a:gd name="T12" fmla="*/ 43337 w 107"/>
              <a:gd name="T13" fmla="*/ 157162 h 190"/>
              <a:gd name="T14" fmla="*/ 48990 w 107"/>
              <a:gd name="T15" fmla="*/ 168592 h 190"/>
              <a:gd name="T16" fmla="*/ 35800 w 107"/>
              <a:gd name="T17" fmla="*/ 180022 h 190"/>
              <a:gd name="T18" fmla="*/ 24495 w 107"/>
              <a:gd name="T19" fmla="*/ 227171 h 190"/>
              <a:gd name="T20" fmla="*/ 62179 w 107"/>
              <a:gd name="T21" fmla="*/ 260032 h 190"/>
              <a:gd name="T22" fmla="*/ 64064 w 107"/>
              <a:gd name="T23" fmla="*/ 254317 h 190"/>
              <a:gd name="T24" fmla="*/ 86674 w 107"/>
              <a:gd name="T25" fmla="*/ 264318 h 190"/>
              <a:gd name="T26" fmla="*/ 86674 w 107"/>
              <a:gd name="T27" fmla="*/ 271462 h 190"/>
              <a:gd name="T28" fmla="*/ 105517 w 107"/>
              <a:gd name="T29" fmla="*/ 268605 h 190"/>
              <a:gd name="T30" fmla="*/ 111169 w 107"/>
              <a:gd name="T31" fmla="*/ 262890 h 190"/>
              <a:gd name="T32" fmla="*/ 81022 w 107"/>
              <a:gd name="T33" fmla="*/ 248602 h 190"/>
              <a:gd name="T34" fmla="*/ 50874 w 107"/>
              <a:gd name="T35" fmla="*/ 212883 h 190"/>
              <a:gd name="T36" fmla="*/ 35800 w 107"/>
              <a:gd name="T37" fmla="*/ 197167 h 190"/>
              <a:gd name="T38" fmla="*/ 60295 w 107"/>
              <a:gd name="T39" fmla="*/ 161448 h 190"/>
              <a:gd name="T40" fmla="*/ 107401 w 107"/>
              <a:gd name="T41" fmla="*/ 154305 h 190"/>
              <a:gd name="T42" fmla="*/ 131896 w 107"/>
              <a:gd name="T43" fmla="*/ 170021 h 190"/>
              <a:gd name="T44" fmla="*/ 118706 w 107"/>
              <a:gd name="T45" fmla="*/ 138588 h 190"/>
              <a:gd name="T46" fmla="*/ 135664 w 107"/>
              <a:gd name="T47" fmla="*/ 124301 h 190"/>
              <a:gd name="T48" fmla="*/ 190307 w 107"/>
              <a:gd name="T49" fmla="*/ 124301 h 190"/>
              <a:gd name="T50" fmla="*/ 201612 w 107"/>
              <a:gd name="T51" fmla="*/ 104299 h 190"/>
              <a:gd name="T52" fmla="*/ 179001 w 107"/>
              <a:gd name="T53" fmla="*/ 71437 h 190"/>
              <a:gd name="T54" fmla="*/ 160159 w 107"/>
              <a:gd name="T55" fmla="*/ 52864 h 190"/>
              <a:gd name="T56" fmla="*/ 90443 w 107"/>
              <a:gd name="T57" fmla="*/ 38576 h 190"/>
              <a:gd name="T58" fmla="*/ 67832 w 107"/>
              <a:gd name="T59" fmla="*/ 0 h 190"/>
              <a:gd name="T60" fmla="*/ 13190 w 107"/>
              <a:gd name="T61" fmla="*/ 12859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7"/>
              <a:gd name="T94" fmla="*/ 0 h 190"/>
              <a:gd name="T95" fmla="*/ 107 w 107"/>
              <a:gd name="T96" fmla="*/ 190 h 19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17" name="Freeform 1487"/>
          <p:cNvSpPr>
            <a:spLocks/>
          </p:cNvSpPr>
          <p:nvPr/>
        </p:nvSpPr>
        <p:spPr bwMode="auto">
          <a:xfrm>
            <a:off x="6738367" y="3733949"/>
            <a:ext cx="227012" cy="333375"/>
          </a:xfrm>
          <a:custGeom>
            <a:avLst/>
            <a:gdLst>
              <a:gd name="T0" fmla="*/ 136207 w 120"/>
              <a:gd name="T1" fmla="*/ 0 h 233"/>
              <a:gd name="T2" fmla="*/ 104047 w 120"/>
              <a:gd name="T3" fmla="*/ 24324 h 233"/>
              <a:gd name="T4" fmla="*/ 75671 w 120"/>
              <a:gd name="T5" fmla="*/ 37201 h 233"/>
              <a:gd name="T6" fmla="*/ 28377 w 120"/>
              <a:gd name="T7" fmla="*/ 85848 h 233"/>
              <a:gd name="T8" fmla="*/ 13242 w 120"/>
              <a:gd name="T9" fmla="*/ 121618 h 233"/>
              <a:gd name="T10" fmla="*/ 0 w 120"/>
              <a:gd name="T11" fmla="*/ 140218 h 233"/>
              <a:gd name="T12" fmla="*/ 43511 w 120"/>
              <a:gd name="T13" fmla="*/ 175988 h 233"/>
              <a:gd name="T14" fmla="*/ 58645 w 120"/>
              <a:gd name="T15" fmla="*/ 203173 h 233"/>
              <a:gd name="T16" fmla="*/ 49186 w 120"/>
              <a:gd name="T17" fmla="*/ 230358 h 233"/>
              <a:gd name="T18" fmla="*/ 83238 w 120"/>
              <a:gd name="T19" fmla="*/ 236081 h 233"/>
              <a:gd name="T20" fmla="*/ 109722 w 120"/>
              <a:gd name="T21" fmla="*/ 224635 h 233"/>
              <a:gd name="T22" fmla="*/ 122965 w 120"/>
              <a:gd name="T23" fmla="*/ 211758 h 233"/>
              <a:gd name="T24" fmla="*/ 151341 w 120"/>
              <a:gd name="T25" fmla="*/ 268989 h 233"/>
              <a:gd name="T26" fmla="*/ 162692 w 120"/>
              <a:gd name="T27" fmla="*/ 301898 h 233"/>
              <a:gd name="T28" fmla="*/ 160800 w 120"/>
              <a:gd name="T29" fmla="*/ 333375 h 233"/>
              <a:gd name="T30" fmla="*/ 187285 w 120"/>
              <a:gd name="T31" fmla="*/ 303328 h 233"/>
              <a:gd name="T32" fmla="*/ 174043 w 120"/>
              <a:gd name="T33" fmla="*/ 268989 h 233"/>
              <a:gd name="T34" fmla="*/ 151341 w 120"/>
              <a:gd name="T35" fmla="*/ 247527 h 233"/>
              <a:gd name="T36" fmla="*/ 162692 w 120"/>
              <a:gd name="T37" fmla="*/ 230358 h 233"/>
              <a:gd name="T38" fmla="*/ 160800 w 120"/>
              <a:gd name="T39" fmla="*/ 216050 h 233"/>
              <a:gd name="T40" fmla="*/ 130532 w 120"/>
              <a:gd name="T41" fmla="*/ 186003 h 233"/>
              <a:gd name="T42" fmla="*/ 145666 w 120"/>
              <a:gd name="T43" fmla="*/ 163111 h 233"/>
              <a:gd name="T44" fmla="*/ 200527 w 120"/>
              <a:gd name="T45" fmla="*/ 151664 h 233"/>
              <a:gd name="T46" fmla="*/ 227012 w 120"/>
              <a:gd name="T47" fmla="*/ 130202 h 233"/>
              <a:gd name="T48" fmla="*/ 209986 w 120"/>
              <a:gd name="T49" fmla="*/ 130202 h 233"/>
              <a:gd name="T50" fmla="*/ 196744 w 120"/>
              <a:gd name="T51" fmla="*/ 124479 h 233"/>
              <a:gd name="T52" fmla="*/ 175934 w 120"/>
              <a:gd name="T53" fmla="*/ 120187 h 233"/>
              <a:gd name="T54" fmla="*/ 185393 w 120"/>
              <a:gd name="T55" fmla="*/ 104448 h 233"/>
              <a:gd name="T56" fmla="*/ 166475 w 120"/>
              <a:gd name="T57" fmla="*/ 85848 h 233"/>
              <a:gd name="T58" fmla="*/ 145666 w 120"/>
              <a:gd name="T59" fmla="*/ 60093 h 233"/>
              <a:gd name="T60" fmla="*/ 162692 w 120"/>
              <a:gd name="T61" fmla="*/ 48647 h 233"/>
              <a:gd name="T62" fmla="*/ 162692 w 120"/>
              <a:gd name="T63" fmla="*/ 18600 h 233"/>
              <a:gd name="T64" fmla="*/ 136207 w 120"/>
              <a:gd name="T65" fmla="*/ 0 h 2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0"/>
              <a:gd name="T100" fmla="*/ 0 h 233"/>
              <a:gd name="T101" fmla="*/ 120 w 120"/>
              <a:gd name="T102" fmla="*/ 233 h 2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0" h="233">
                <a:moveTo>
                  <a:pt x="72" y="0"/>
                </a:moveTo>
                <a:lnTo>
                  <a:pt x="55" y="17"/>
                </a:lnTo>
                <a:lnTo>
                  <a:pt x="40" y="26"/>
                </a:lnTo>
                <a:lnTo>
                  <a:pt x="15" y="60"/>
                </a:lnTo>
                <a:lnTo>
                  <a:pt x="7" y="85"/>
                </a:lnTo>
                <a:lnTo>
                  <a:pt x="0" y="98"/>
                </a:lnTo>
                <a:lnTo>
                  <a:pt x="23" y="123"/>
                </a:lnTo>
                <a:lnTo>
                  <a:pt x="31" y="142"/>
                </a:lnTo>
                <a:lnTo>
                  <a:pt x="26" y="161"/>
                </a:lnTo>
                <a:lnTo>
                  <a:pt x="44" y="165"/>
                </a:lnTo>
                <a:lnTo>
                  <a:pt x="58" y="157"/>
                </a:lnTo>
                <a:lnTo>
                  <a:pt x="65" y="148"/>
                </a:lnTo>
                <a:lnTo>
                  <a:pt x="80" y="188"/>
                </a:lnTo>
                <a:lnTo>
                  <a:pt x="86" y="211"/>
                </a:lnTo>
                <a:lnTo>
                  <a:pt x="85" y="233"/>
                </a:lnTo>
                <a:lnTo>
                  <a:pt x="99" y="212"/>
                </a:lnTo>
                <a:lnTo>
                  <a:pt x="92" y="188"/>
                </a:lnTo>
                <a:lnTo>
                  <a:pt x="80" y="173"/>
                </a:lnTo>
                <a:lnTo>
                  <a:pt x="86" y="161"/>
                </a:lnTo>
                <a:lnTo>
                  <a:pt x="85" y="151"/>
                </a:lnTo>
                <a:lnTo>
                  <a:pt x="69" y="130"/>
                </a:lnTo>
                <a:lnTo>
                  <a:pt x="77" y="114"/>
                </a:lnTo>
                <a:lnTo>
                  <a:pt x="106" y="106"/>
                </a:lnTo>
                <a:lnTo>
                  <a:pt x="120" y="91"/>
                </a:lnTo>
                <a:lnTo>
                  <a:pt x="111" y="91"/>
                </a:lnTo>
                <a:lnTo>
                  <a:pt x="104" y="87"/>
                </a:lnTo>
                <a:lnTo>
                  <a:pt x="93" y="84"/>
                </a:lnTo>
                <a:lnTo>
                  <a:pt x="98" y="73"/>
                </a:lnTo>
                <a:lnTo>
                  <a:pt x="88" y="60"/>
                </a:lnTo>
                <a:lnTo>
                  <a:pt x="77" y="42"/>
                </a:lnTo>
                <a:lnTo>
                  <a:pt x="86" y="34"/>
                </a:lnTo>
                <a:lnTo>
                  <a:pt x="86" y="13"/>
                </a:lnTo>
                <a:lnTo>
                  <a:pt x="72" y="0"/>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18" name="Freeform 1488"/>
          <p:cNvSpPr>
            <a:spLocks/>
          </p:cNvSpPr>
          <p:nvPr/>
        </p:nvSpPr>
        <p:spPr bwMode="auto">
          <a:xfrm>
            <a:off x="6965379" y="4151462"/>
            <a:ext cx="115888" cy="100012"/>
          </a:xfrm>
          <a:custGeom>
            <a:avLst/>
            <a:gdLst>
              <a:gd name="T0" fmla="*/ 0 w 675"/>
              <a:gd name="T1" fmla="*/ 5305 h 773"/>
              <a:gd name="T2" fmla="*/ 12876 w 675"/>
              <a:gd name="T3" fmla="*/ 43860 h 773"/>
              <a:gd name="T4" fmla="*/ 46870 w 675"/>
              <a:gd name="T5" fmla="*/ 74912 h 773"/>
              <a:gd name="T6" fmla="*/ 103870 w 675"/>
              <a:gd name="T7" fmla="*/ 99494 h 773"/>
              <a:gd name="T8" fmla="*/ 115888 w 675"/>
              <a:gd name="T9" fmla="*/ 100012 h 773"/>
              <a:gd name="T10" fmla="*/ 96659 w 675"/>
              <a:gd name="T11" fmla="*/ 75429 h 773"/>
              <a:gd name="T12" fmla="*/ 84641 w 675"/>
              <a:gd name="T13" fmla="*/ 67408 h 773"/>
              <a:gd name="T14" fmla="*/ 84641 w 675"/>
              <a:gd name="T15" fmla="*/ 34804 h 773"/>
              <a:gd name="T16" fmla="*/ 55455 w 675"/>
              <a:gd name="T17" fmla="*/ 10092 h 773"/>
              <a:gd name="T18" fmla="*/ 49102 w 675"/>
              <a:gd name="T19" fmla="*/ 7504 h 773"/>
              <a:gd name="T20" fmla="*/ 43437 w 675"/>
              <a:gd name="T21" fmla="*/ 14361 h 773"/>
              <a:gd name="T22" fmla="*/ 24208 w 675"/>
              <a:gd name="T23" fmla="*/ 16561 h 773"/>
              <a:gd name="T24" fmla="*/ 24894 w 675"/>
              <a:gd name="T25" fmla="*/ 9057 h 773"/>
              <a:gd name="T26" fmla="*/ 2919 w 675"/>
              <a:gd name="T27" fmla="*/ 0 h 773"/>
              <a:gd name="T28" fmla="*/ 0 w 675"/>
              <a:gd name="T29" fmla="*/ 5305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75"/>
              <a:gd name="T46" fmla="*/ 0 h 773"/>
              <a:gd name="T47" fmla="*/ 675 w 675"/>
              <a:gd name="T48" fmla="*/ 773 h 7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19" name="Line 1489"/>
          <p:cNvSpPr>
            <a:spLocks noChangeShapeType="1"/>
          </p:cNvSpPr>
          <p:nvPr/>
        </p:nvSpPr>
        <p:spPr bwMode="auto">
          <a:xfrm>
            <a:off x="7386067" y="3943499"/>
            <a:ext cx="0" cy="0"/>
          </a:xfrm>
          <a:prstGeom prst="line">
            <a:avLst/>
          </a:prstGeom>
          <a:noFill/>
          <a:ln w="0">
            <a:solidFill>
              <a:srgbClr val="000000"/>
            </a:solidFill>
            <a:round/>
            <a:headEnd/>
            <a:tailEnd/>
          </a:ln>
        </p:spPr>
        <p:txBody>
          <a:bodyPr/>
          <a:lstStyle/>
          <a:p>
            <a:pPr defTabSz="457200" fontAlgn="auto">
              <a:spcBef>
                <a:spcPts val="0"/>
              </a:spcBef>
              <a:spcAft>
                <a:spcPts val="0"/>
              </a:spcAft>
            </a:pPr>
            <a:endParaRPr lang="da-DK">
              <a:solidFill>
                <a:srgbClr val="231F20"/>
              </a:solidFill>
              <a:latin typeface="Verdana"/>
              <a:cs typeface="+mn-cs"/>
            </a:endParaRPr>
          </a:p>
        </p:txBody>
      </p:sp>
      <p:sp>
        <p:nvSpPr>
          <p:cNvPr id="420" name="Freeform 1490"/>
          <p:cNvSpPr>
            <a:spLocks/>
          </p:cNvSpPr>
          <p:nvPr/>
        </p:nvSpPr>
        <p:spPr bwMode="auto">
          <a:xfrm>
            <a:off x="3764979" y="2641749"/>
            <a:ext cx="131763" cy="38100"/>
          </a:xfrm>
          <a:custGeom>
            <a:avLst/>
            <a:gdLst>
              <a:gd name="T0" fmla="*/ 16181 w 114"/>
              <a:gd name="T1" fmla="*/ 0 h 54"/>
              <a:gd name="T2" fmla="*/ 30051 w 114"/>
              <a:gd name="T3" fmla="*/ 9878 h 54"/>
              <a:gd name="T4" fmla="*/ 62414 w 114"/>
              <a:gd name="T5" fmla="*/ 2822 h 54"/>
              <a:gd name="T6" fmla="*/ 101712 w 114"/>
              <a:gd name="T7" fmla="*/ 0 h 54"/>
              <a:gd name="T8" fmla="*/ 131763 w 114"/>
              <a:gd name="T9" fmla="*/ 12700 h 54"/>
              <a:gd name="T10" fmla="*/ 110958 w 114"/>
              <a:gd name="T11" fmla="*/ 26811 h 54"/>
              <a:gd name="T12" fmla="*/ 78595 w 114"/>
              <a:gd name="T13" fmla="*/ 38100 h 54"/>
              <a:gd name="T14" fmla="*/ 34674 w 114"/>
              <a:gd name="T15" fmla="*/ 29633 h 54"/>
              <a:gd name="T16" fmla="*/ 11558 w 114"/>
              <a:gd name="T17" fmla="*/ 31044 h 54"/>
              <a:gd name="T18" fmla="*/ 30051 w 114"/>
              <a:gd name="T19" fmla="*/ 25400 h 54"/>
              <a:gd name="T20" fmla="*/ 18493 w 114"/>
              <a:gd name="T21" fmla="*/ 15522 h 54"/>
              <a:gd name="T22" fmla="*/ 0 w 114"/>
              <a:gd name="T23" fmla="*/ 11289 h 54"/>
              <a:gd name="T24" fmla="*/ 16181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4"/>
              <a:gd name="T40" fmla="*/ 0 h 54"/>
              <a:gd name="T41" fmla="*/ 114 w 114"/>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solidFill>
            <a:srgbClr val="00B050"/>
          </a:solidFill>
          <a:ln w="76200">
            <a:noFill/>
            <a:round/>
            <a:headEnd/>
            <a:tailEnd/>
          </a:ln>
        </p:spPr>
        <p:txBody>
          <a:bodyPr anchor="ct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21" name="Freeform 1491"/>
          <p:cNvSpPr>
            <a:spLocks/>
          </p:cNvSpPr>
          <p:nvPr/>
        </p:nvSpPr>
        <p:spPr bwMode="auto">
          <a:xfrm>
            <a:off x="7760717" y="4241949"/>
            <a:ext cx="215900" cy="139700"/>
          </a:xfrm>
          <a:custGeom>
            <a:avLst/>
            <a:gdLst>
              <a:gd name="T0" fmla="*/ 153946 w 575"/>
              <a:gd name="T1" fmla="*/ 20325 h 488"/>
              <a:gd name="T2" fmla="*/ 120529 w 575"/>
              <a:gd name="T3" fmla="*/ 40650 h 488"/>
              <a:gd name="T4" fmla="*/ 87486 w 575"/>
              <a:gd name="T5" fmla="*/ 40650 h 488"/>
              <a:gd name="T6" fmla="*/ 66835 w 575"/>
              <a:gd name="T7" fmla="*/ 20325 h 488"/>
              <a:gd name="T8" fmla="*/ 40176 w 575"/>
              <a:gd name="T9" fmla="*/ 0 h 488"/>
              <a:gd name="T10" fmla="*/ 13517 w 575"/>
              <a:gd name="T11" fmla="*/ 5439 h 488"/>
              <a:gd name="T12" fmla="*/ 0 w 575"/>
              <a:gd name="T13" fmla="*/ 25764 h 488"/>
              <a:gd name="T14" fmla="*/ 27034 w 575"/>
              <a:gd name="T15" fmla="*/ 35498 h 488"/>
              <a:gd name="T16" fmla="*/ 33418 w 575"/>
              <a:gd name="T17" fmla="*/ 45517 h 488"/>
              <a:gd name="T18" fmla="*/ 40176 w 575"/>
              <a:gd name="T19" fmla="*/ 60976 h 488"/>
              <a:gd name="T20" fmla="*/ 60077 w 575"/>
              <a:gd name="T21" fmla="*/ 60976 h 488"/>
              <a:gd name="T22" fmla="*/ 73969 w 575"/>
              <a:gd name="T23" fmla="*/ 65842 h 488"/>
              <a:gd name="T24" fmla="*/ 120529 w 575"/>
              <a:gd name="T25" fmla="*/ 81015 h 488"/>
              <a:gd name="T26" fmla="*/ 167463 w 575"/>
              <a:gd name="T27" fmla="*/ 101053 h 488"/>
              <a:gd name="T28" fmla="*/ 174597 w 575"/>
              <a:gd name="T29" fmla="*/ 111359 h 488"/>
              <a:gd name="T30" fmla="*/ 147563 w 575"/>
              <a:gd name="T31" fmla="*/ 121379 h 488"/>
              <a:gd name="T32" fmla="*/ 174597 w 575"/>
              <a:gd name="T33" fmla="*/ 126532 h 488"/>
              <a:gd name="T34" fmla="*/ 194498 w 575"/>
              <a:gd name="T35" fmla="*/ 131398 h 488"/>
              <a:gd name="T36" fmla="*/ 215900 w 575"/>
              <a:gd name="T37" fmla="*/ 139700 h 488"/>
              <a:gd name="T38" fmla="*/ 215900 w 575"/>
              <a:gd name="T39" fmla="*/ 34925 h 488"/>
              <a:gd name="T40" fmla="*/ 153946 w 575"/>
              <a:gd name="T41" fmla="*/ 20325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5"/>
              <a:gd name="T64" fmla="*/ 0 h 488"/>
              <a:gd name="T65" fmla="*/ 575 w 575"/>
              <a:gd name="T66" fmla="*/ 488 h 4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22" name="Freeform 1492"/>
          <p:cNvSpPr>
            <a:spLocks/>
          </p:cNvSpPr>
          <p:nvPr/>
        </p:nvSpPr>
        <p:spPr bwMode="auto">
          <a:xfrm>
            <a:off x="7976617" y="4275287"/>
            <a:ext cx="174625" cy="128587"/>
          </a:xfrm>
          <a:custGeom>
            <a:avLst/>
            <a:gdLst>
              <a:gd name="T0" fmla="*/ 134006 w 460"/>
              <a:gd name="T1" fmla="*/ 87660 h 443"/>
              <a:gd name="T2" fmla="*/ 127552 w 460"/>
              <a:gd name="T3" fmla="*/ 72276 h 443"/>
              <a:gd name="T4" fmla="*/ 141218 w 460"/>
              <a:gd name="T5" fmla="*/ 62117 h 443"/>
              <a:gd name="T6" fmla="*/ 107432 w 460"/>
              <a:gd name="T7" fmla="*/ 46733 h 443"/>
              <a:gd name="T8" fmla="*/ 93766 w 460"/>
              <a:gd name="T9" fmla="*/ 31349 h 443"/>
              <a:gd name="T10" fmla="*/ 46314 w 460"/>
              <a:gd name="T11" fmla="*/ 10740 h 443"/>
              <a:gd name="T12" fmla="*/ 0 w 460"/>
              <a:gd name="T13" fmla="*/ 0 h 443"/>
              <a:gd name="T14" fmla="*/ 0 w 460"/>
              <a:gd name="T15" fmla="*/ 106237 h 443"/>
              <a:gd name="T16" fmla="*/ 5315 w 460"/>
              <a:gd name="T17" fmla="*/ 108269 h 443"/>
              <a:gd name="T18" fmla="*/ 25435 w 460"/>
              <a:gd name="T19" fmla="*/ 108269 h 443"/>
              <a:gd name="T20" fmla="*/ 46314 w 460"/>
              <a:gd name="T21" fmla="*/ 92885 h 443"/>
              <a:gd name="T22" fmla="*/ 80100 w 460"/>
              <a:gd name="T23" fmla="*/ 82435 h 443"/>
              <a:gd name="T24" fmla="*/ 100220 w 460"/>
              <a:gd name="T25" fmla="*/ 92885 h 443"/>
              <a:gd name="T26" fmla="*/ 147672 w 460"/>
              <a:gd name="T27" fmla="*/ 118428 h 443"/>
              <a:gd name="T28" fmla="*/ 174625 w 460"/>
              <a:gd name="T29" fmla="*/ 128587 h 443"/>
              <a:gd name="T30" fmla="*/ 174625 w 460"/>
              <a:gd name="T31" fmla="*/ 97819 h 443"/>
              <a:gd name="T32" fmla="*/ 134006 w 460"/>
              <a:gd name="T33" fmla="*/ 87660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0"/>
              <a:gd name="T52" fmla="*/ 0 h 443"/>
              <a:gd name="T53" fmla="*/ 460 w 460"/>
              <a:gd name="T54" fmla="*/ 443 h 4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solidFill>
            <a:srgbClr val="00B0F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grpSp>
        <p:nvGrpSpPr>
          <p:cNvPr id="2" name="Group 1493"/>
          <p:cNvGrpSpPr>
            <a:grpSpLocks/>
          </p:cNvGrpSpPr>
          <p:nvPr/>
        </p:nvGrpSpPr>
        <p:grpSpPr bwMode="auto">
          <a:xfrm>
            <a:off x="4238055" y="2933849"/>
            <a:ext cx="250825" cy="276225"/>
            <a:chOff x="2201" y="1250"/>
            <a:chExt cx="133" cy="193"/>
          </a:xfrm>
          <a:solidFill>
            <a:srgbClr val="00B050"/>
          </a:solidFill>
        </p:grpSpPr>
        <p:sp>
          <p:nvSpPr>
            <p:cNvPr id="424" name="Freeform 1494"/>
            <p:cNvSpPr>
              <a:spLocks/>
            </p:cNvSpPr>
            <p:nvPr/>
          </p:nvSpPr>
          <p:spPr bwMode="auto">
            <a:xfrm>
              <a:off x="2234" y="1250"/>
              <a:ext cx="100" cy="193"/>
            </a:xfrm>
            <a:custGeom>
              <a:avLst/>
              <a:gdLst/>
              <a:ahLst/>
              <a:cxnLst>
                <a:cxn ang="0">
                  <a:pos x="6" y="35"/>
                </a:cxn>
                <a:cxn ang="0">
                  <a:pos x="4" y="33"/>
                </a:cxn>
                <a:cxn ang="0">
                  <a:pos x="10" y="29"/>
                </a:cxn>
                <a:cxn ang="0">
                  <a:pos x="9" y="25"/>
                </a:cxn>
                <a:cxn ang="0">
                  <a:pos x="8" y="22"/>
                </a:cxn>
                <a:cxn ang="0">
                  <a:pos x="3" y="22"/>
                </a:cxn>
                <a:cxn ang="0">
                  <a:pos x="4" y="16"/>
                </a:cxn>
                <a:cxn ang="0">
                  <a:pos x="1" y="18"/>
                </a:cxn>
                <a:cxn ang="0">
                  <a:pos x="0" y="13"/>
                </a:cxn>
                <a:cxn ang="0">
                  <a:pos x="0" y="8"/>
                </a:cxn>
                <a:cxn ang="0">
                  <a:pos x="1" y="4"/>
                </a:cxn>
                <a:cxn ang="0">
                  <a:pos x="5" y="0"/>
                </a:cxn>
                <a:cxn ang="0">
                  <a:pos x="8" y="1"/>
                </a:cxn>
                <a:cxn ang="0">
                  <a:pos x="7" y="6"/>
                </a:cxn>
                <a:cxn ang="0">
                  <a:pos x="13" y="6"/>
                </a:cxn>
                <a:cxn ang="0">
                  <a:pos x="11" y="11"/>
                </a:cxn>
                <a:cxn ang="0">
                  <a:pos x="9" y="15"/>
                </a:cxn>
                <a:cxn ang="0">
                  <a:pos x="13" y="17"/>
                </a:cxn>
                <a:cxn ang="0">
                  <a:pos x="17" y="24"/>
                </a:cxn>
                <a:cxn ang="0">
                  <a:pos x="19" y="29"/>
                </a:cxn>
                <a:cxn ang="0">
                  <a:pos x="19" y="32"/>
                </a:cxn>
                <a:cxn ang="0">
                  <a:pos x="23" y="32"/>
                </a:cxn>
                <a:cxn ang="0">
                  <a:pos x="22" y="39"/>
                </a:cxn>
                <a:cxn ang="0">
                  <a:pos x="24" y="40"/>
                </a:cxn>
                <a:cxn ang="0">
                  <a:pos x="17" y="43"/>
                </a:cxn>
                <a:cxn ang="0">
                  <a:pos x="11" y="44"/>
                </a:cxn>
                <a:cxn ang="0">
                  <a:pos x="8" y="45"/>
                </a:cxn>
                <a:cxn ang="0">
                  <a:pos x="4" y="45"/>
                </a:cxn>
                <a:cxn ang="0">
                  <a:pos x="1" y="46"/>
                </a:cxn>
                <a:cxn ang="0">
                  <a:pos x="5" y="42"/>
                </a:cxn>
                <a:cxn ang="0">
                  <a:pos x="6" y="38"/>
                </a:cxn>
                <a:cxn ang="0">
                  <a:pos x="3" y="37"/>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9525">
              <a:solidFill>
                <a:schemeClr val="bg1"/>
              </a:solidFill>
              <a:round/>
              <a:headEnd/>
              <a:tailEnd/>
            </a:ln>
          </p:spPr>
          <p:txBody>
            <a:bodyPr/>
            <a:lstStyle/>
            <a:p>
              <a:pPr defTabSz="457200" fontAlgn="auto">
                <a:spcBef>
                  <a:spcPts val="0"/>
                </a:spcBef>
                <a:spcAft>
                  <a:spcPts val="0"/>
                </a:spcAft>
                <a:defRPr/>
              </a:pPr>
              <a:endParaRPr lang="en-GB" dirty="0">
                <a:solidFill>
                  <a:srgbClr val="231F20"/>
                </a:solidFill>
                <a:latin typeface="Verdana"/>
                <a:cs typeface="+mn-cs"/>
              </a:endParaRPr>
            </a:p>
          </p:txBody>
        </p:sp>
        <p:sp>
          <p:nvSpPr>
            <p:cNvPr id="425" name="Freeform 1495"/>
            <p:cNvSpPr>
              <a:spLocks/>
            </p:cNvSpPr>
            <p:nvPr/>
          </p:nvSpPr>
          <p:spPr bwMode="auto">
            <a:xfrm>
              <a:off x="2201" y="1331"/>
              <a:ext cx="34" cy="22"/>
            </a:xfrm>
            <a:custGeom>
              <a:avLst/>
              <a:gdLst/>
              <a:ahLst/>
              <a:cxnLst>
                <a:cxn ang="0">
                  <a:pos x="24" y="22"/>
                </a:cxn>
                <a:cxn ang="0">
                  <a:pos x="0" y="18"/>
                </a:cxn>
                <a:cxn ang="0">
                  <a:pos x="13" y="0"/>
                </a:cxn>
                <a:cxn ang="0">
                  <a:pos x="27" y="3"/>
                </a:cxn>
                <a:cxn ang="0">
                  <a:pos x="34" y="15"/>
                </a:cxn>
                <a:cxn ang="0">
                  <a:pos x="24" y="22"/>
                </a:cxn>
              </a:cxnLst>
              <a:rect l="0" t="0" r="r" b="b"/>
              <a:pathLst>
                <a:path w="34" h="22">
                  <a:moveTo>
                    <a:pt x="24" y="22"/>
                  </a:moveTo>
                  <a:lnTo>
                    <a:pt x="0" y="18"/>
                  </a:lnTo>
                  <a:lnTo>
                    <a:pt x="13" y="0"/>
                  </a:lnTo>
                  <a:lnTo>
                    <a:pt x="27" y="3"/>
                  </a:lnTo>
                  <a:lnTo>
                    <a:pt x="34" y="15"/>
                  </a:lnTo>
                  <a:lnTo>
                    <a:pt x="24" y="22"/>
                  </a:lnTo>
                  <a:close/>
                </a:path>
              </a:pathLst>
            </a:custGeom>
            <a:grpFill/>
            <a:ln w="9525" cap="flat" cmpd="sng">
              <a:solidFill>
                <a:schemeClr val="bg1"/>
              </a:solidFill>
              <a:prstDash val="solid"/>
              <a:round/>
              <a:headEnd type="none" w="med" len="med"/>
              <a:tailEnd type="none" w="med" len="med"/>
            </a:ln>
            <a:effectLst/>
          </p:spPr>
          <p:txBody>
            <a:bodyPr/>
            <a:lstStyle/>
            <a:p>
              <a:pPr defTabSz="457200" fontAlgn="auto">
                <a:spcBef>
                  <a:spcPts val="0"/>
                </a:spcBef>
                <a:spcAft>
                  <a:spcPts val="0"/>
                </a:spcAft>
                <a:defRPr/>
              </a:pPr>
              <a:endParaRPr lang="en-GB" dirty="0">
                <a:solidFill>
                  <a:srgbClr val="231F20"/>
                </a:solidFill>
                <a:latin typeface="Verdana"/>
                <a:cs typeface="+mn-cs"/>
              </a:endParaRPr>
            </a:p>
          </p:txBody>
        </p:sp>
      </p:grpSp>
      <p:sp>
        <p:nvSpPr>
          <p:cNvPr id="426" name="Freeform 1496"/>
          <p:cNvSpPr>
            <a:spLocks/>
          </p:cNvSpPr>
          <p:nvPr/>
        </p:nvSpPr>
        <p:spPr bwMode="auto">
          <a:xfrm>
            <a:off x="4779392" y="3294212"/>
            <a:ext cx="68262" cy="34925"/>
          </a:xfrm>
          <a:custGeom>
            <a:avLst/>
            <a:gdLst>
              <a:gd name="T0" fmla="*/ 4654 w 44"/>
              <a:gd name="T1" fmla="*/ 33898 h 34"/>
              <a:gd name="T2" fmla="*/ 9308 w 44"/>
              <a:gd name="T3" fmla="*/ 33898 h 34"/>
              <a:gd name="T4" fmla="*/ 13963 w 44"/>
              <a:gd name="T5" fmla="*/ 32871 h 34"/>
              <a:gd name="T6" fmla="*/ 20168 w 44"/>
              <a:gd name="T7" fmla="*/ 33898 h 34"/>
              <a:gd name="T8" fmla="*/ 26374 w 44"/>
              <a:gd name="T9" fmla="*/ 28762 h 34"/>
              <a:gd name="T10" fmla="*/ 31028 w 44"/>
              <a:gd name="T11" fmla="*/ 34925 h 34"/>
              <a:gd name="T12" fmla="*/ 32580 w 44"/>
              <a:gd name="T13" fmla="*/ 32871 h 34"/>
              <a:gd name="T14" fmla="*/ 38785 w 44"/>
              <a:gd name="T15" fmla="*/ 34925 h 34"/>
              <a:gd name="T16" fmla="*/ 41888 w 44"/>
              <a:gd name="T17" fmla="*/ 33898 h 34"/>
              <a:gd name="T18" fmla="*/ 40337 w 44"/>
              <a:gd name="T19" fmla="*/ 30816 h 34"/>
              <a:gd name="T20" fmla="*/ 43439 w 44"/>
              <a:gd name="T21" fmla="*/ 29789 h 34"/>
              <a:gd name="T22" fmla="*/ 40337 w 44"/>
              <a:gd name="T23" fmla="*/ 28762 h 34"/>
              <a:gd name="T24" fmla="*/ 44991 w 44"/>
              <a:gd name="T25" fmla="*/ 25680 h 34"/>
              <a:gd name="T26" fmla="*/ 48094 w 44"/>
              <a:gd name="T27" fmla="*/ 25680 h 34"/>
              <a:gd name="T28" fmla="*/ 49645 w 44"/>
              <a:gd name="T29" fmla="*/ 25680 h 34"/>
              <a:gd name="T30" fmla="*/ 49645 w 44"/>
              <a:gd name="T31" fmla="*/ 20544 h 34"/>
              <a:gd name="T32" fmla="*/ 46542 w 44"/>
              <a:gd name="T33" fmla="*/ 19517 h 34"/>
              <a:gd name="T34" fmla="*/ 48094 w 44"/>
              <a:gd name="T35" fmla="*/ 16435 h 34"/>
              <a:gd name="T36" fmla="*/ 51197 w 44"/>
              <a:gd name="T37" fmla="*/ 16435 h 34"/>
              <a:gd name="T38" fmla="*/ 57402 w 44"/>
              <a:gd name="T39" fmla="*/ 13354 h 34"/>
              <a:gd name="T40" fmla="*/ 58954 w 44"/>
              <a:gd name="T41" fmla="*/ 12326 h 34"/>
              <a:gd name="T42" fmla="*/ 62056 w 44"/>
              <a:gd name="T43" fmla="*/ 13354 h 34"/>
              <a:gd name="T44" fmla="*/ 60505 w 44"/>
              <a:gd name="T45" fmla="*/ 10272 h 34"/>
              <a:gd name="T46" fmla="*/ 63608 w 44"/>
              <a:gd name="T47" fmla="*/ 9245 h 34"/>
              <a:gd name="T48" fmla="*/ 68262 w 44"/>
              <a:gd name="T49" fmla="*/ 11299 h 34"/>
              <a:gd name="T50" fmla="*/ 65159 w 44"/>
              <a:gd name="T51" fmla="*/ 7190 h 34"/>
              <a:gd name="T52" fmla="*/ 63608 w 44"/>
              <a:gd name="T53" fmla="*/ 5136 h 34"/>
              <a:gd name="T54" fmla="*/ 62056 w 44"/>
              <a:gd name="T55" fmla="*/ 2054 h 34"/>
              <a:gd name="T56" fmla="*/ 58954 w 44"/>
              <a:gd name="T57" fmla="*/ 0 h 34"/>
              <a:gd name="T58" fmla="*/ 55851 w 44"/>
              <a:gd name="T59" fmla="*/ 3082 h 34"/>
              <a:gd name="T60" fmla="*/ 55851 w 44"/>
              <a:gd name="T61" fmla="*/ 6163 h 34"/>
              <a:gd name="T62" fmla="*/ 52748 w 44"/>
              <a:gd name="T63" fmla="*/ 5136 h 34"/>
              <a:gd name="T64" fmla="*/ 51197 w 44"/>
              <a:gd name="T65" fmla="*/ 5136 h 34"/>
              <a:gd name="T66" fmla="*/ 48094 w 44"/>
              <a:gd name="T67" fmla="*/ 6163 h 34"/>
              <a:gd name="T68" fmla="*/ 46542 w 44"/>
              <a:gd name="T69" fmla="*/ 6163 h 34"/>
              <a:gd name="T70" fmla="*/ 44991 w 44"/>
              <a:gd name="T71" fmla="*/ 7190 h 34"/>
              <a:gd name="T72" fmla="*/ 43439 w 44"/>
              <a:gd name="T73" fmla="*/ 7190 h 34"/>
              <a:gd name="T74" fmla="*/ 43439 w 44"/>
              <a:gd name="T75" fmla="*/ 7190 h 34"/>
              <a:gd name="T76" fmla="*/ 38785 w 44"/>
              <a:gd name="T77" fmla="*/ 7190 h 34"/>
              <a:gd name="T78" fmla="*/ 35682 w 44"/>
              <a:gd name="T79" fmla="*/ 7190 h 34"/>
              <a:gd name="T80" fmla="*/ 34131 w 44"/>
              <a:gd name="T81" fmla="*/ 7190 h 34"/>
              <a:gd name="T82" fmla="*/ 32580 w 44"/>
              <a:gd name="T83" fmla="*/ 7190 h 34"/>
              <a:gd name="T84" fmla="*/ 32580 w 44"/>
              <a:gd name="T85" fmla="*/ 7190 h 34"/>
              <a:gd name="T86" fmla="*/ 26374 w 44"/>
              <a:gd name="T87" fmla="*/ 11299 h 34"/>
              <a:gd name="T88" fmla="*/ 24823 w 44"/>
              <a:gd name="T89" fmla="*/ 13354 h 34"/>
              <a:gd name="T90" fmla="*/ 18617 w 44"/>
              <a:gd name="T91" fmla="*/ 11299 h 34"/>
              <a:gd name="T92" fmla="*/ 12411 w 44"/>
              <a:gd name="T93" fmla="*/ 10272 h 34"/>
              <a:gd name="T94" fmla="*/ 7757 w 44"/>
              <a:gd name="T95" fmla="*/ 10272 h 34"/>
              <a:gd name="T96" fmla="*/ 6206 w 44"/>
              <a:gd name="T97" fmla="*/ 11299 h 34"/>
              <a:gd name="T98" fmla="*/ 0 w 44"/>
              <a:gd name="T99" fmla="*/ 15408 h 34"/>
              <a:gd name="T100" fmla="*/ 1551 w 44"/>
              <a:gd name="T101" fmla="*/ 17463 h 34"/>
              <a:gd name="T102" fmla="*/ 6206 w 44"/>
              <a:gd name="T103" fmla="*/ 17463 h 34"/>
              <a:gd name="T104" fmla="*/ 4654 w 44"/>
              <a:gd name="T105" fmla="*/ 19517 h 34"/>
              <a:gd name="T106" fmla="*/ 1551 w 44"/>
              <a:gd name="T107" fmla="*/ 19517 h 34"/>
              <a:gd name="T108" fmla="*/ 3103 w 44"/>
              <a:gd name="T109" fmla="*/ 21571 h 34"/>
              <a:gd name="T110" fmla="*/ 4654 w 44"/>
              <a:gd name="T111" fmla="*/ 22599 h 34"/>
              <a:gd name="T112" fmla="*/ 3103 w 44"/>
              <a:gd name="T113" fmla="*/ 26707 h 34"/>
              <a:gd name="T114" fmla="*/ 7757 w 44"/>
              <a:gd name="T115" fmla="*/ 29789 h 34"/>
              <a:gd name="T116" fmla="*/ 7757 w 44"/>
              <a:gd name="T117" fmla="*/ 31843 h 34"/>
              <a:gd name="T118" fmla="*/ 4654 w 44"/>
              <a:gd name="T119" fmla="*/ 32871 h 34"/>
              <a:gd name="T120" fmla="*/ 4654 w 44"/>
              <a:gd name="T121" fmla="*/ 33898 h 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
              <a:gd name="T184" fmla="*/ 0 h 34"/>
              <a:gd name="T185" fmla="*/ 44 w 44"/>
              <a:gd name="T186" fmla="*/ 34 h 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 h="34">
                <a:moveTo>
                  <a:pt x="3" y="33"/>
                </a:moveTo>
                <a:lnTo>
                  <a:pt x="6" y="33"/>
                </a:lnTo>
                <a:lnTo>
                  <a:pt x="9" y="32"/>
                </a:lnTo>
                <a:lnTo>
                  <a:pt x="13" y="33"/>
                </a:lnTo>
                <a:lnTo>
                  <a:pt x="17" y="28"/>
                </a:lnTo>
                <a:lnTo>
                  <a:pt x="20" y="34"/>
                </a:lnTo>
                <a:lnTo>
                  <a:pt x="21" y="32"/>
                </a:lnTo>
                <a:lnTo>
                  <a:pt x="25" y="34"/>
                </a:lnTo>
                <a:lnTo>
                  <a:pt x="27" y="33"/>
                </a:lnTo>
                <a:lnTo>
                  <a:pt x="26" y="30"/>
                </a:lnTo>
                <a:lnTo>
                  <a:pt x="28" y="29"/>
                </a:lnTo>
                <a:lnTo>
                  <a:pt x="26" y="28"/>
                </a:lnTo>
                <a:lnTo>
                  <a:pt x="29" y="25"/>
                </a:lnTo>
                <a:lnTo>
                  <a:pt x="31" y="25"/>
                </a:lnTo>
                <a:lnTo>
                  <a:pt x="32" y="25"/>
                </a:lnTo>
                <a:lnTo>
                  <a:pt x="32" y="20"/>
                </a:lnTo>
                <a:lnTo>
                  <a:pt x="30" y="19"/>
                </a:lnTo>
                <a:lnTo>
                  <a:pt x="31" y="16"/>
                </a:lnTo>
                <a:lnTo>
                  <a:pt x="33" y="16"/>
                </a:lnTo>
                <a:lnTo>
                  <a:pt x="37" y="13"/>
                </a:lnTo>
                <a:lnTo>
                  <a:pt x="38" y="12"/>
                </a:lnTo>
                <a:lnTo>
                  <a:pt x="40" y="13"/>
                </a:lnTo>
                <a:lnTo>
                  <a:pt x="39" y="10"/>
                </a:lnTo>
                <a:lnTo>
                  <a:pt x="41" y="9"/>
                </a:lnTo>
                <a:lnTo>
                  <a:pt x="44" y="11"/>
                </a:lnTo>
                <a:lnTo>
                  <a:pt x="42" y="7"/>
                </a:lnTo>
                <a:lnTo>
                  <a:pt x="41" y="5"/>
                </a:lnTo>
                <a:lnTo>
                  <a:pt x="40" y="2"/>
                </a:lnTo>
                <a:lnTo>
                  <a:pt x="38" y="0"/>
                </a:lnTo>
                <a:lnTo>
                  <a:pt x="36" y="3"/>
                </a:lnTo>
                <a:lnTo>
                  <a:pt x="36" y="6"/>
                </a:lnTo>
                <a:lnTo>
                  <a:pt x="34" y="5"/>
                </a:lnTo>
                <a:lnTo>
                  <a:pt x="33" y="5"/>
                </a:lnTo>
                <a:lnTo>
                  <a:pt x="31" y="6"/>
                </a:lnTo>
                <a:lnTo>
                  <a:pt x="30" y="6"/>
                </a:lnTo>
                <a:lnTo>
                  <a:pt x="29" y="7"/>
                </a:lnTo>
                <a:lnTo>
                  <a:pt x="28" y="7"/>
                </a:lnTo>
                <a:lnTo>
                  <a:pt x="25" y="7"/>
                </a:lnTo>
                <a:lnTo>
                  <a:pt x="23" y="7"/>
                </a:lnTo>
                <a:lnTo>
                  <a:pt x="22" y="7"/>
                </a:lnTo>
                <a:lnTo>
                  <a:pt x="21" y="7"/>
                </a:lnTo>
                <a:lnTo>
                  <a:pt x="17" y="11"/>
                </a:lnTo>
                <a:lnTo>
                  <a:pt x="16" y="13"/>
                </a:lnTo>
                <a:lnTo>
                  <a:pt x="12" y="11"/>
                </a:lnTo>
                <a:lnTo>
                  <a:pt x="8" y="10"/>
                </a:lnTo>
                <a:lnTo>
                  <a:pt x="5" y="10"/>
                </a:lnTo>
                <a:lnTo>
                  <a:pt x="4" y="11"/>
                </a:lnTo>
                <a:lnTo>
                  <a:pt x="0" y="15"/>
                </a:lnTo>
                <a:lnTo>
                  <a:pt x="1" y="17"/>
                </a:lnTo>
                <a:lnTo>
                  <a:pt x="4" y="17"/>
                </a:lnTo>
                <a:lnTo>
                  <a:pt x="3" y="19"/>
                </a:lnTo>
                <a:lnTo>
                  <a:pt x="1" y="19"/>
                </a:lnTo>
                <a:lnTo>
                  <a:pt x="2" y="21"/>
                </a:lnTo>
                <a:lnTo>
                  <a:pt x="3" y="22"/>
                </a:lnTo>
                <a:lnTo>
                  <a:pt x="2" y="26"/>
                </a:lnTo>
                <a:lnTo>
                  <a:pt x="5" y="29"/>
                </a:lnTo>
                <a:lnTo>
                  <a:pt x="5" y="31"/>
                </a:lnTo>
                <a:lnTo>
                  <a:pt x="3" y="32"/>
                </a:lnTo>
                <a:lnTo>
                  <a:pt x="3" y="33"/>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27" name="Freeform 1498"/>
          <p:cNvSpPr>
            <a:spLocks/>
          </p:cNvSpPr>
          <p:nvPr/>
        </p:nvSpPr>
        <p:spPr bwMode="auto">
          <a:xfrm>
            <a:off x="5222304" y="3572024"/>
            <a:ext cx="73025" cy="33338"/>
          </a:xfrm>
          <a:custGeom>
            <a:avLst/>
            <a:gdLst>
              <a:gd name="T0" fmla="*/ 0 w 46"/>
              <a:gd name="T1" fmla="*/ 17860 h 28"/>
              <a:gd name="T2" fmla="*/ 4762 w 46"/>
              <a:gd name="T3" fmla="*/ 20241 h 28"/>
              <a:gd name="T4" fmla="*/ 19050 w 46"/>
              <a:gd name="T5" fmla="*/ 16669 h 28"/>
              <a:gd name="T6" fmla="*/ 20637 w 46"/>
              <a:gd name="T7" fmla="*/ 9525 h 28"/>
              <a:gd name="T8" fmla="*/ 42862 w 46"/>
              <a:gd name="T9" fmla="*/ 10716 h 28"/>
              <a:gd name="T10" fmla="*/ 73025 w 46"/>
              <a:gd name="T11" fmla="*/ 0 h 28"/>
              <a:gd name="T12" fmla="*/ 73025 w 46"/>
              <a:gd name="T13" fmla="*/ 1191 h 28"/>
              <a:gd name="T14" fmla="*/ 52388 w 46"/>
              <a:gd name="T15" fmla="*/ 13097 h 28"/>
              <a:gd name="T16" fmla="*/ 57150 w 46"/>
              <a:gd name="T17" fmla="*/ 21432 h 28"/>
              <a:gd name="T18" fmla="*/ 42862 w 46"/>
              <a:gd name="T19" fmla="*/ 25004 h 28"/>
              <a:gd name="T20" fmla="*/ 23812 w 46"/>
              <a:gd name="T21" fmla="*/ 33338 h 28"/>
              <a:gd name="T22" fmla="*/ 20637 w 46"/>
              <a:gd name="T23" fmla="*/ 33338 h 28"/>
              <a:gd name="T24" fmla="*/ 12700 w 46"/>
              <a:gd name="T25" fmla="*/ 30957 h 28"/>
              <a:gd name="T26" fmla="*/ 3175 w 46"/>
              <a:gd name="T27" fmla="*/ 27385 h 28"/>
              <a:gd name="T28" fmla="*/ 0 w 46"/>
              <a:gd name="T29" fmla="*/ 17860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28"/>
              <a:gd name="T47" fmla="*/ 46 w 46"/>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solidFill>
            <a:srgbClr val="00B050"/>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28" name="Freeform 1499"/>
          <p:cNvSpPr>
            <a:spLocks/>
          </p:cNvSpPr>
          <p:nvPr/>
        </p:nvSpPr>
        <p:spPr bwMode="auto">
          <a:xfrm>
            <a:off x="6287517" y="3110062"/>
            <a:ext cx="1508125" cy="785812"/>
          </a:xfrm>
          <a:custGeom>
            <a:avLst/>
            <a:gdLst>
              <a:gd name="T0" fmla="*/ 1333500 w 950"/>
              <a:gd name="T1" fmla="*/ 104775 h 660"/>
              <a:gd name="T2" fmla="*/ 1162050 w 950"/>
              <a:gd name="T3" fmla="*/ 28575 h 660"/>
              <a:gd name="T4" fmla="*/ 1060450 w 950"/>
              <a:gd name="T5" fmla="*/ 104775 h 660"/>
              <a:gd name="T6" fmla="*/ 1060450 w 950"/>
              <a:gd name="T7" fmla="*/ 104775 h 660"/>
              <a:gd name="T8" fmla="*/ 1063625 w 950"/>
              <a:gd name="T9" fmla="*/ 107156 h 660"/>
              <a:gd name="T10" fmla="*/ 1066800 w 950"/>
              <a:gd name="T11" fmla="*/ 109537 h 660"/>
              <a:gd name="T12" fmla="*/ 1073150 w 950"/>
              <a:gd name="T13" fmla="*/ 109537 h 660"/>
              <a:gd name="T14" fmla="*/ 1073150 w 950"/>
              <a:gd name="T15" fmla="*/ 111919 h 660"/>
              <a:gd name="T16" fmla="*/ 1076325 w 950"/>
              <a:gd name="T17" fmla="*/ 111919 h 660"/>
              <a:gd name="T18" fmla="*/ 1076325 w 950"/>
              <a:gd name="T19" fmla="*/ 111919 h 660"/>
              <a:gd name="T20" fmla="*/ 1073150 w 950"/>
              <a:gd name="T21" fmla="*/ 109537 h 660"/>
              <a:gd name="T22" fmla="*/ 1069975 w 950"/>
              <a:gd name="T23" fmla="*/ 109537 h 660"/>
              <a:gd name="T24" fmla="*/ 1066800 w 950"/>
              <a:gd name="T25" fmla="*/ 107156 h 660"/>
              <a:gd name="T26" fmla="*/ 1060450 w 950"/>
              <a:gd name="T27" fmla="*/ 107156 h 660"/>
              <a:gd name="T28" fmla="*/ 1060450 w 950"/>
              <a:gd name="T29" fmla="*/ 104775 h 660"/>
              <a:gd name="T30" fmla="*/ 1044575 w 950"/>
              <a:gd name="T31" fmla="*/ 128587 h 660"/>
              <a:gd name="T32" fmla="*/ 1130300 w 950"/>
              <a:gd name="T33" fmla="*/ 188119 h 660"/>
              <a:gd name="T34" fmla="*/ 949325 w 950"/>
              <a:gd name="T35" fmla="*/ 240506 h 660"/>
              <a:gd name="T36" fmla="*/ 762000 w 950"/>
              <a:gd name="T37" fmla="*/ 328612 h 660"/>
              <a:gd name="T38" fmla="*/ 517525 w 950"/>
              <a:gd name="T39" fmla="*/ 240506 h 660"/>
              <a:gd name="T40" fmla="*/ 358775 w 950"/>
              <a:gd name="T41" fmla="*/ 140494 h 660"/>
              <a:gd name="T42" fmla="*/ 352425 w 950"/>
              <a:gd name="T43" fmla="*/ 135731 h 660"/>
              <a:gd name="T44" fmla="*/ 349250 w 950"/>
              <a:gd name="T45" fmla="*/ 138112 h 660"/>
              <a:gd name="T46" fmla="*/ 346075 w 950"/>
              <a:gd name="T47" fmla="*/ 145256 h 660"/>
              <a:gd name="T48" fmla="*/ 346075 w 950"/>
              <a:gd name="T49" fmla="*/ 145256 h 660"/>
              <a:gd name="T50" fmla="*/ 346075 w 950"/>
              <a:gd name="T51" fmla="*/ 145256 h 660"/>
              <a:gd name="T52" fmla="*/ 352425 w 950"/>
              <a:gd name="T53" fmla="*/ 135731 h 660"/>
              <a:gd name="T54" fmla="*/ 346075 w 950"/>
              <a:gd name="T55" fmla="*/ 128587 h 660"/>
              <a:gd name="T56" fmla="*/ 330200 w 950"/>
              <a:gd name="T57" fmla="*/ 135731 h 660"/>
              <a:gd name="T58" fmla="*/ 225425 w 950"/>
              <a:gd name="T59" fmla="*/ 169069 h 660"/>
              <a:gd name="T60" fmla="*/ 139700 w 950"/>
              <a:gd name="T61" fmla="*/ 304800 h 660"/>
              <a:gd name="T62" fmla="*/ 6350 w 950"/>
              <a:gd name="T63" fmla="*/ 364331 h 660"/>
              <a:gd name="T64" fmla="*/ 22225 w 950"/>
              <a:gd name="T65" fmla="*/ 416718 h 660"/>
              <a:gd name="T66" fmla="*/ 47625 w 950"/>
              <a:gd name="T67" fmla="*/ 440531 h 660"/>
              <a:gd name="T68" fmla="*/ 149225 w 950"/>
              <a:gd name="T69" fmla="*/ 464343 h 660"/>
              <a:gd name="T70" fmla="*/ 133350 w 950"/>
              <a:gd name="T71" fmla="*/ 528637 h 660"/>
              <a:gd name="T72" fmla="*/ 171450 w 950"/>
              <a:gd name="T73" fmla="*/ 581025 h 660"/>
              <a:gd name="T74" fmla="*/ 234950 w 950"/>
              <a:gd name="T75" fmla="*/ 604837 h 660"/>
              <a:gd name="T76" fmla="*/ 346075 w 950"/>
              <a:gd name="T77" fmla="*/ 638175 h 660"/>
              <a:gd name="T78" fmla="*/ 415925 w 950"/>
              <a:gd name="T79" fmla="*/ 650081 h 660"/>
              <a:gd name="T80" fmla="*/ 501650 w 950"/>
              <a:gd name="T81" fmla="*/ 609600 h 660"/>
              <a:gd name="T82" fmla="*/ 587375 w 950"/>
              <a:gd name="T83" fmla="*/ 628650 h 660"/>
              <a:gd name="T84" fmla="*/ 596900 w 950"/>
              <a:gd name="T85" fmla="*/ 697706 h 660"/>
              <a:gd name="T86" fmla="*/ 635000 w 950"/>
              <a:gd name="T87" fmla="*/ 733425 h 660"/>
              <a:gd name="T88" fmla="*/ 666750 w 950"/>
              <a:gd name="T89" fmla="*/ 762000 h 660"/>
              <a:gd name="T90" fmla="*/ 793750 w 950"/>
              <a:gd name="T91" fmla="*/ 733425 h 660"/>
              <a:gd name="T92" fmla="*/ 847725 w 950"/>
              <a:gd name="T93" fmla="*/ 762000 h 660"/>
              <a:gd name="T94" fmla="*/ 965200 w 950"/>
              <a:gd name="T95" fmla="*/ 750093 h 660"/>
              <a:gd name="T96" fmla="*/ 1003300 w 950"/>
              <a:gd name="T97" fmla="*/ 745331 h 660"/>
              <a:gd name="T98" fmla="*/ 1114425 w 950"/>
              <a:gd name="T99" fmla="*/ 692943 h 660"/>
              <a:gd name="T100" fmla="*/ 1177925 w 950"/>
              <a:gd name="T101" fmla="*/ 609600 h 660"/>
              <a:gd name="T102" fmla="*/ 1177925 w 950"/>
              <a:gd name="T103" fmla="*/ 561975 h 660"/>
              <a:gd name="T104" fmla="*/ 1136650 w 950"/>
              <a:gd name="T105" fmla="*/ 473868 h 660"/>
              <a:gd name="T106" fmla="*/ 1193800 w 950"/>
              <a:gd name="T107" fmla="*/ 428625 h 660"/>
              <a:gd name="T108" fmla="*/ 1114425 w 950"/>
              <a:gd name="T109" fmla="*/ 421481 h 660"/>
              <a:gd name="T110" fmla="*/ 1120775 w 950"/>
              <a:gd name="T111" fmla="*/ 381000 h 660"/>
              <a:gd name="T112" fmla="*/ 1200150 w 950"/>
              <a:gd name="T113" fmla="*/ 345281 h 660"/>
              <a:gd name="T114" fmla="*/ 1209675 w 950"/>
              <a:gd name="T115" fmla="*/ 376237 h 660"/>
              <a:gd name="T116" fmla="*/ 1298575 w 950"/>
              <a:gd name="T117" fmla="*/ 311944 h 660"/>
              <a:gd name="T118" fmla="*/ 1412875 w 950"/>
              <a:gd name="T119" fmla="*/ 300037 h 660"/>
              <a:gd name="T120" fmla="*/ 1508125 w 950"/>
              <a:gd name="T121" fmla="*/ 140494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0"/>
              <a:gd name="T184" fmla="*/ 0 h 660"/>
              <a:gd name="T185" fmla="*/ 950 w 950"/>
              <a:gd name="T186" fmla="*/ 660 h 6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0" h="660">
                <a:moveTo>
                  <a:pt x="890" y="118"/>
                </a:moveTo>
                <a:lnTo>
                  <a:pt x="890" y="118"/>
                </a:lnTo>
                <a:lnTo>
                  <a:pt x="880" y="98"/>
                </a:lnTo>
                <a:lnTo>
                  <a:pt x="840" y="88"/>
                </a:lnTo>
                <a:lnTo>
                  <a:pt x="792" y="0"/>
                </a:lnTo>
                <a:lnTo>
                  <a:pt x="746" y="0"/>
                </a:lnTo>
                <a:lnTo>
                  <a:pt x="732" y="24"/>
                </a:lnTo>
                <a:lnTo>
                  <a:pt x="702" y="78"/>
                </a:lnTo>
                <a:lnTo>
                  <a:pt x="672" y="78"/>
                </a:lnTo>
                <a:lnTo>
                  <a:pt x="668" y="88"/>
                </a:lnTo>
                <a:lnTo>
                  <a:pt x="668" y="90"/>
                </a:lnTo>
                <a:lnTo>
                  <a:pt x="670" y="90"/>
                </a:lnTo>
                <a:lnTo>
                  <a:pt x="672" y="90"/>
                </a:lnTo>
                <a:lnTo>
                  <a:pt x="672" y="92"/>
                </a:lnTo>
                <a:lnTo>
                  <a:pt x="674" y="92"/>
                </a:lnTo>
                <a:lnTo>
                  <a:pt x="676" y="92"/>
                </a:lnTo>
                <a:lnTo>
                  <a:pt x="676" y="94"/>
                </a:lnTo>
                <a:lnTo>
                  <a:pt x="678" y="94"/>
                </a:lnTo>
                <a:lnTo>
                  <a:pt x="676" y="94"/>
                </a:lnTo>
                <a:lnTo>
                  <a:pt x="676" y="92"/>
                </a:lnTo>
                <a:lnTo>
                  <a:pt x="674" y="92"/>
                </a:lnTo>
                <a:lnTo>
                  <a:pt x="672" y="92"/>
                </a:lnTo>
                <a:lnTo>
                  <a:pt x="672" y="90"/>
                </a:lnTo>
                <a:lnTo>
                  <a:pt x="670" y="90"/>
                </a:lnTo>
                <a:lnTo>
                  <a:pt x="668" y="90"/>
                </a:lnTo>
                <a:lnTo>
                  <a:pt x="668" y="88"/>
                </a:lnTo>
                <a:lnTo>
                  <a:pt x="658" y="108"/>
                </a:lnTo>
                <a:lnTo>
                  <a:pt x="658" y="132"/>
                </a:lnTo>
                <a:lnTo>
                  <a:pt x="702" y="138"/>
                </a:lnTo>
                <a:lnTo>
                  <a:pt x="712" y="158"/>
                </a:lnTo>
                <a:lnTo>
                  <a:pt x="668" y="172"/>
                </a:lnTo>
                <a:lnTo>
                  <a:pt x="632" y="188"/>
                </a:lnTo>
                <a:lnTo>
                  <a:pt x="598" y="202"/>
                </a:lnTo>
                <a:lnTo>
                  <a:pt x="588" y="236"/>
                </a:lnTo>
                <a:lnTo>
                  <a:pt x="534" y="242"/>
                </a:lnTo>
                <a:lnTo>
                  <a:pt x="480" y="276"/>
                </a:lnTo>
                <a:lnTo>
                  <a:pt x="430" y="252"/>
                </a:lnTo>
                <a:lnTo>
                  <a:pt x="370" y="246"/>
                </a:lnTo>
                <a:lnTo>
                  <a:pt x="326" y="202"/>
                </a:lnTo>
                <a:lnTo>
                  <a:pt x="262" y="182"/>
                </a:lnTo>
                <a:lnTo>
                  <a:pt x="256" y="132"/>
                </a:lnTo>
                <a:lnTo>
                  <a:pt x="226" y="118"/>
                </a:lnTo>
                <a:lnTo>
                  <a:pt x="222" y="114"/>
                </a:lnTo>
                <a:lnTo>
                  <a:pt x="220" y="116"/>
                </a:lnTo>
                <a:lnTo>
                  <a:pt x="218" y="120"/>
                </a:lnTo>
                <a:lnTo>
                  <a:pt x="218" y="122"/>
                </a:lnTo>
                <a:lnTo>
                  <a:pt x="218" y="124"/>
                </a:lnTo>
                <a:lnTo>
                  <a:pt x="218" y="122"/>
                </a:lnTo>
                <a:lnTo>
                  <a:pt x="218" y="120"/>
                </a:lnTo>
                <a:lnTo>
                  <a:pt x="222" y="114"/>
                </a:lnTo>
                <a:lnTo>
                  <a:pt x="218" y="108"/>
                </a:lnTo>
                <a:lnTo>
                  <a:pt x="208" y="114"/>
                </a:lnTo>
                <a:lnTo>
                  <a:pt x="208" y="124"/>
                </a:lnTo>
                <a:lnTo>
                  <a:pt x="208" y="114"/>
                </a:lnTo>
                <a:lnTo>
                  <a:pt x="192" y="118"/>
                </a:lnTo>
                <a:lnTo>
                  <a:pt x="182" y="148"/>
                </a:lnTo>
                <a:lnTo>
                  <a:pt x="142" y="142"/>
                </a:lnTo>
                <a:lnTo>
                  <a:pt x="132" y="192"/>
                </a:lnTo>
                <a:lnTo>
                  <a:pt x="98" y="198"/>
                </a:lnTo>
                <a:lnTo>
                  <a:pt x="88" y="256"/>
                </a:lnTo>
                <a:lnTo>
                  <a:pt x="68" y="276"/>
                </a:lnTo>
                <a:lnTo>
                  <a:pt x="44" y="296"/>
                </a:lnTo>
                <a:lnTo>
                  <a:pt x="4" y="306"/>
                </a:lnTo>
                <a:lnTo>
                  <a:pt x="0" y="326"/>
                </a:lnTo>
                <a:lnTo>
                  <a:pt x="10" y="334"/>
                </a:lnTo>
                <a:lnTo>
                  <a:pt x="14" y="350"/>
                </a:lnTo>
                <a:lnTo>
                  <a:pt x="4" y="354"/>
                </a:lnTo>
                <a:lnTo>
                  <a:pt x="14" y="364"/>
                </a:lnTo>
                <a:lnTo>
                  <a:pt x="30" y="370"/>
                </a:lnTo>
                <a:lnTo>
                  <a:pt x="44" y="390"/>
                </a:lnTo>
                <a:lnTo>
                  <a:pt x="64" y="390"/>
                </a:lnTo>
                <a:lnTo>
                  <a:pt x="94" y="390"/>
                </a:lnTo>
                <a:lnTo>
                  <a:pt x="98" y="398"/>
                </a:lnTo>
                <a:lnTo>
                  <a:pt x="78" y="428"/>
                </a:lnTo>
                <a:lnTo>
                  <a:pt x="84" y="444"/>
                </a:lnTo>
                <a:lnTo>
                  <a:pt x="74" y="458"/>
                </a:lnTo>
                <a:lnTo>
                  <a:pt x="84" y="478"/>
                </a:lnTo>
                <a:lnTo>
                  <a:pt x="108" y="488"/>
                </a:lnTo>
                <a:lnTo>
                  <a:pt x="104" y="492"/>
                </a:lnTo>
                <a:lnTo>
                  <a:pt x="114" y="492"/>
                </a:lnTo>
                <a:lnTo>
                  <a:pt x="148" y="508"/>
                </a:lnTo>
                <a:lnTo>
                  <a:pt x="178" y="522"/>
                </a:lnTo>
                <a:lnTo>
                  <a:pt x="208" y="528"/>
                </a:lnTo>
                <a:lnTo>
                  <a:pt x="218" y="536"/>
                </a:lnTo>
                <a:lnTo>
                  <a:pt x="226" y="536"/>
                </a:lnTo>
                <a:lnTo>
                  <a:pt x="242" y="546"/>
                </a:lnTo>
                <a:lnTo>
                  <a:pt x="262" y="546"/>
                </a:lnTo>
                <a:lnTo>
                  <a:pt x="282" y="546"/>
                </a:lnTo>
                <a:lnTo>
                  <a:pt x="296" y="528"/>
                </a:lnTo>
                <a:lnTo>
                  <a:pt x="316" y="512"/>
                </a:lnTo>
                <a:lnTo>
                  <a:pt x="340" y="512"/>
                </a:lnTo>
                <a:lnTo>
                  <a:pt x="360" y="528"/>
                </a:lnTo>
                <a:lnTo>
                  <a:pt x="370" y="528"/>
                </a:lnTo>
                <a:lnTo>
                  <a:pt x="380" y="532"/>
                </a:lnTo>
                <a:lnTo>
                  <a:pt x="386" y="556"/>
                </a:lnTo>
                <a:lnTo>
                  <a:pt x="376" y="586"/>
                </a:lnTo>
                <a:lnTo>
                  <a:pt x="376" y="596"/>
                </a:lnTo>
                <a:lnTo>
                  <a:pt x="390" y="600"/>
                </a:lnTo>
                <a:lnTo>
                  <a:pt x="400" y="616"/>
                </a:lnTo>
                <a:lnTo>
                  <a:pt x="400" y="626"/>
                </a:lnTo>
                <a:lnTo>
                  <a:pt x="424" y="636"/>
                </a:lnTo>
                <a:lnTo>
                  <a:pt x="420" y="640"/>
                </a:lnTo>
                <a:lnTo>
                  <a:pt x="444" y="636"/>
                </a:lnTo>
                <a:lnTo>
                  <a:pt x="450" y="616"/>
                </a:lnTo>
                <a:lnTo>
                  <a:pt x="500" y="616"/>
                </a:lnTo>
                <a:lnTo>
                  <a:pt x="518" y="630"/>
                </a:lnTo>
                <a:lnTo>
                  <a:pt x="524" y="646"/>
                </a:lnTo>
                <a:lnTo>
                  <a:pt x="534" y="640"/>
                </a:lnTo>
                <a:lnTo>
                  <a:pt x="568" y="660"/>
                </a:lnTo>
                <a:lnTo>
                  <a:pt x="568" y="646"/>
                </a:lnTo>
                <a:lnTo>
                  <a:pt x="608" y="630"/>
                </a:lnTo>
                <a:lnTo>
                  <a:pt x="612" y="626"/>
                </a:lnTo>
                <a:lnTo>
                  <a:pt x="622" y="620"/>
                </a:lnTo>
                <a:lnTo>
                  <a:pt x="632" y="626"/>
                </a:lnTo>
                <a:lnTo>
                  <a:pt x="652" y="616"/>
                </a:lnTo>
                <a:lnTo>
                  <a:pt x="678" y="600"/>
                </a:lnTo>
                <a:lnTo>
                  <a:pt x="702" y="582"/>
                </a:lnTo>
                <a:lnTo>
                  <a:pt x="712" y="562"/>
                </a:lnTo>
                <a:lnTo>
                  <a:pt x="726" y="542"/>
                </a:lnTo>
                <a:lnTo>
                  <a:pt x="742" y="512"/>
                </a:lnTo>
                <a:lnTo>
                  <a:pt x="742" y="498"/>
                </a:lnTo>
                <a:lnTo>
                  <a:pt x="736" y="488"/>
                </a:lnTo>
                <a:lnTo>
                  <a:pt x="742" y="472"/>
                </a:lnTo>
                <a:lnTo>
                  <a:pt x="736" y="454"/>
                </a:lnTo>
                <a:lnTo>
                  <a:pt x="712" y="404"/>
                </a:lnTo>
                <a:lnTo>
                  <a:pt x="716" y="398"/>
                </a:lnTo>
                <a:lnTo>
                  <a:pt x="736" y="374"/>
                </a:lnTo>
                <a:lnTo>
                  <a:pt x="752" y="370"/>
                </a:lnTo>
                <a:lnTo>
                  <a:pt x="754" y="368"/>
                </a:lnTo>
                <a:lnTo>
                  <a:pt x="754" y="364"/>
                </a:lnTo>
                <a:lnTo>
                  <a:pt x="752" y="360"/>
                </a:lnTo>
                <a:lnTo>
                  <a:pt x="726" y="354"/>
                </a:lnTo>
                <a:lnTo>
                  <a:pt x="712" y="360"/>
                </a:lnTo>
                <a:lnTo>
                  <a:pt x="702" y="354"/>
                </a:lnTo>
                <a:lnTo>
                  <a:pt x="692" y="340"/>
                </a:lnTo>
                <a:lnTo>
                  <a:pt x="682" y="330"/>
                </a:lnTo>
                <a:lnTo>
                  <a:pt x="706" y="320"/>
                </a:lnTo>
                <a:lnTo>
                  <a:pt x="722" y="306"/>
                </a:lnTo>
                <a:lnTo>
                  <a:pt x="746" y="290"/>
                </a:lnTo>
                <a:lnTo>
                  <a:pt x="756" y="290"/>
                </a:lnTo>
                <a:lnTo>
                  <a:pt x="742" y="310"/>
                </a:lnTo>
                <a:lnTo>
                  <a:pt x="752" y="320"/>
                </a:lnTo>
                <a:lnTo>
                  <a:pt x="762" y="316"/>
                </a:lnTo>
                <a:lnTo>
                  <a:pt x="786" y="306"/>
                </a:lnTo>
                <a:lnTo>
                  <a:pt x="792" y="284"/>
                </a:lnTo>
                <a:lnTo>
                  <a:pt x="806" y="272"/>
                </a:lnTo>
                <a:lnTo>
                  <a:pt x="820" y="282"/>
                </a:lnTo>
                <a:lnTo>
                  <a:pt x="818" y="262"/>
                </a:lnTo>
                <a:lnTo>
                  <a:pt x="838" y="250"/>
                </a:lnTo>
                <a:lnTo>
                  <a:pt x="864" y="254"/>
                </a:lnTo>
                <a:lnTo>
                  <a:pt x="876" y="246"/>
                </a:lnTo>
                <a:lnTo>
                  <a:pt x="890" y="252"/>
                </a:lnTo>
                <a:lnTo>
                  <a:pt x="900" y="198"/>
                </a:lnTo>
                <a:lnTo>
                  <a:pt x="924" y="192"/>
                </a:lnTo>
                <a:lnTo>
                  <a:pt x="950" y="118"/>
                </a:lnTo>
                <a:lnTo>
                  <a:pt x="890" y="118"/>
                </a:lnTo>
                <a:close/>
              </a:path>
            </a:pathLst>
          </a:custGeom>
          <a:solidFill>
            <a:srgbClr val="EF4135"/>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29" name="Freeform 1500"/>
          <p:cNvSpPr>
            <a:spLocks/>
          </p:cNvSpPr>
          <p:nvPr/>
        </p:nvSpPr>
        <p:spPr bwMode="auto">
          <a:xfrm>
            <a:off x="7535292" y="3408512"/>
            <a:ext cx="123825" cy="115887"/>
          </a:xfrm>
          <a:custGeom>
            <a:avLst/>
            <a:gdLst>
              <a:gd name="T0" fmla="*/ 50800 w 78"/>
              <a:gd name="T1" fmla="*/ 14190 h 98"/>
              <a:gd name="T2" fmla="*/ 53975 w 78"/>
              <a:gd name="T3" fmla="*/ 37841 h 98"/>
              <a:gd name="T4" fmla="*/ 31750 w 78"/>
              <a:gd name="T5" fmla="*/ 26015 h 98"/>
              <a:gd name="T6" fmla="*/ 9525 w 78"/>
              <a:gd name="T7" fmla="*/ 40206 h 98"/>
              <a:gd name="T8" fmla="*/ 0 w 78"/>
              <a:gd name="T9" fmla="*/ 66221 h 98"/>
              <a:gd name="T10" fmla="*/ 0 w 78"/>
              <a:gd name="T11" fmla="*/ 66221 h 98"/>
              <a:gd name="T12" fmla="*/ 9525 w 78"/>
              <a:gd name="T13" fmla="*/ 66221 h 98"/>
              <a:gd name="T14" fmla="*/ 9525 w 78"/>
              <a:gd name="T15" fmla="*/ 66221 h 98"/>
              <a:gd name="T16" fmla="*/ 15875 w 78"/>
              <a:gd name="T17" fmla="*/ 66221 h 98"/>
              <a:gd name="T18" fmla="*/ 15875 w 78"/>
              <a:gd name="T19" fmla="*/ 66221 h 98"/>
              <a:gd name="T20" fmla="*/ 47625 w 78"/>
              <a:gd name="T21" fmla="*/ 82776 h 98"/>
              <a:gd name="T22" fmla="*/ 53975 w 78"/>
              <a:gd name="T23" fmla="*/ 99332 h 98"/>
              <a:gd name="T24" fmla="*/ 53975 w 78"/>
              <a:gd name="T25" fmla="*/ 99332 h 98"/>
              <a:gd name="T26" fmla="*/ 57150 w 78"/>
              <a:gd name="T27" fmla="*/ 108792 h 98"/>
              <a:gd name="T28" fmla="*/ 63500 w 78"/>
              <a:gd name="T29" fmla="*/ 115887 h 98"/>
              <a:gd name="T30" fmla="*/ 111125 w 78"/>
              <a:gd name="T31" fmla="*/ 104062 h 98"/>
              <a:gd name="T32" fmla="*/ 111125 w 78"/>
              <a:gd name="T33" fmla="*/ 99332 h 98"/>
              <a:gd name="T34" fmla="*/ 111125 w 78"/>
              <a:gd name="T35" fmla="*/ 99332 h 98"/>
              <a:gd name="T36" fmla="*/ 107950 w 78"/>
              <a:gd name="T37" fmla="*/ 96967 h 98"/>
              <a:gd name="T38" fmla="*/ 104775 w 78"/>
              <a:gd name="T39" fmla="*/ 92237 h 98"/>
              <a:gd name="T40" fmla="*/ 101600 w 78"/>
              <a:gd name="T41" fmla="*/ 89872 h 98"/>
              <a:gd name="T42" fmla="*/ 101600 w 78"/>
              <a:gd name="T43" fmla="*/ 89872 h 98"/>
              <a:gd name="T44" fmla="*/ 101600 w 78"/>
              <a:gd name="T45" fmla="*/ 70951 h 98"/>
              <a:gd name="T46" fmla="*/ 101600 w 78"/>
              <a:gd name="T47" fmla="*/ 70951 h 98"/>
              <a:gd name="T48" fmla="*/ 101600 w 78"/>
              <a:gd name="T49" fmla="*/ 54396 h 98"/>
              <a:gd name="T50" fmla="*/ 101600 w 78"/>
              <a:gd name="T51" fmla="*/ 54396 h 98"/>
              <a:gd name="T52" fmla="*/ 85725 w 78"/>
              <a:gd name="T53" fmla="*/ 30746 h 98"/>
              <a:gd name="T54" fmla="*/ 85725 w 78"/>
              <a:gd name="T55" fmla="*/ 30746 h 98"/>
              <a:gd name="T56" fmla="*/ 101600 w 78"/>
              <a:gd name="T57" fmla="*/ 18920 h 98"/>
              <a:gd name="T58" fmla="*/ 101600 w 78"/>
              <a:gd name="T59" fmla="*/ 18920 h 98"/>
              <a:gd name="T60" fmla="*/ 123825 w 78"/>
              <a:gd name="T61" fmla="*/ 4730 h 98"/>
              <a:gd name="T62" fmla="*/ 82550 w 78"/>
              <a:gd name="T63" fmla="*/ 0 h 98"/>
              <a:gd name="T64" fmla="*/ 50800 w 78"/>
              <a:gd name="T65" fmla="*/ 14190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8"/>
              <a:gd name="T100" fmla="*/ 0 h 98"/>
              <a:gd name="T101" fmla="*/ 78 w 78"/>
              <a:gd name="T102" fmla="*/ 98 h 9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solidFill>
            <a:srgbClr val="EF4135"/>
          </a:solidFill>
          <a:ln w="9525">
            <a:no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30" name="Freeform 1501"/>
          <p:cNvSpPr>
            <a:spLocks/>
          </p:cNvSpPr>
          <p:nvPr/>
        </p:nvSpPr>
        <p:spPr bwMode="auto">
          <a:xfrm>
            <a:off x="7582917" y="3513287"/>
            <a:ext cx="85725" cy="77787"/>
          </a:xfrm>
          <a:custGeom>
            <a:avLst/>
            <a:gdLst>
              <a:gd name="T0" fmla="*/ 15875 w 54"/>
              <a:gd name="T1" fmla="*/ 14143 h 66"/>
              <a:gd name="T2" fmla="*/ 15875 w 54"/>
              <a:gd name="T3" fmla="*/ 14143 h 66"/>
              <a:gd name="T4" fmla="*/ 15875 w 54"/>
              <a:gd name="T5" fmla="*/ 42429 h 66"/>
              <a:gd name="T6" fmla="*/ 15875 w 54"/>
              <a:gd name="T7" fmla="*/ 42429 h 66"/>
              <a:gd name="T8" fmla="*/ 0 w 54"/>
              <a:gd name="T9" fmla="*/ 77787 h 66"/>
              <a:gd name="T10" fmla="*/ 0 w 54"/>
              <a:gd name="T11" fmla="*/ 77787 h 66"/>
              <a:gd name="T12" fmla="*/ 31750 w 54"/>
              <a:gd name="T13" fmla="*/ 77787 h 66"/>
              <a:gd name="T14" fmla="*/ 31750 w 54"/>
              <a:gd name="T15" fmla="*/ 77787 h 66"/>
              <a:gd name="T16" fmla="*/ 63500 w 54"/>
              <a:gd name="T17" fmla="*/ 70715 h 66"/>
              <a:gd name="T18" fmla="*/ 63500 w 54"/>
              <a:gd name="T19" fmla="*/ 70715 h 66"/>
              <a:gd name="T20" fmla="*/ 79375 w 54"/>
              <a:gd name="T21" fmla="*/ 61287 h 66"/>
              <a:gd name="T22" fmla="*/ 79375 w 54"/>
              <a:gd name="T23" fmla="*/ 61287 h 66"/>
              <a:gd name="T24" fmla="*/ 85725 w 54"/>
              <a:gd name="T25" fmla="*/ 42429 h 66"/>
              <a:gd name="T26" fmla="*/ 63500 w 54"/>
              <a:gd name="T27" fmla="*/ 0 h 66"/>
              <a:gd name="T28" fmla="*/ 15875 w 54"/>
              <a:gd name="T29" fmla="*/ 11786 h 66"/>
              <a:gd name="T30" fmla="*/ 15875 w 54"/>
              <a:gd name="T31" fmla="*/ 11786 h 66"/>
              <a:gd name="T32" fmla="*/ 15875 w 54"/>
              <a:gd name="T33" fmla="*/ 14143 h 66"/>
              <a:gd name="T34" fmla="*/ 15875 w 54"/>
              <a:gd name="T35" fmla="*/ 14143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66"/>
              <a:gd name="T56" fmla="*/ 54 w 54"/>
              <a:gd name="T57" fmla="*/ 66 h 6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solidFill>
            <a:srgbClr val="EF4135"/>
          </a:solidFill>
          <a:ln w="9525">
            <a:solidFill>
              <a:schemeClr val="bg1"/>
            </a:solidFill>
            <a:round/>
            <a:headEnd/>
            <a:tailEnd/>
          </a:ln>
        </p:spPr>
        <p:txBody>
          <a:bodyPr/>
          <a:lstStyle/>
          <a:p>
            <a:pPr defTabSz="457200" fontAlgn="auto">
              <a:spcBef>
                <a:spcPts val="0"/>
              </a:spcBef>
              <a:spcAft>
                <a:spcPts val="0"/>
              </a:spcAft>
            </a:pPr>
            <a:endParaRPr lang="en-GB">
              <a:solidFill>
                <a:srgbClr val="231F20"/>
              </a:solidFill>
              <a:latin typeface="Verdana" pitchFamily="34" charset="0"/>
              <a:cs typeface="+mn-cs"/>
            </a:endParaRPr>
          </a:p>
        </p:txBody>
      </p:sp>
      <p:sp>
        <p:nvSpPr>
          <p:cNvPr id="431" name="AutoShape 12"/>
          <p:cNvSpPr>
            <a:spLocks noChangeArrowheads="1"/>
          </p:cNvSpPr>
          <p:nvPr/>
        </p:nvSpPr>
        <p:spPr bwMode="auto">
          <a:xfrm>
            <a:off x="2524096" y="3479968"/>
            <a:ext cx="984250" cy="228600"/>
          </a:xfrm>
          <a:prstGeom prst="roundRect">
            <a:avLst>
              <a:gd name="adj" fmla="val 16667"/>
            </a:avLst>
          </a:prstGeom>
          <a:solidFill>
            <a:schemeClr val="bg2"/>
          </a:solidFill>
          <a:ln w="9525">
            <a:noFill/>
            <a:round/>
            <a:headEnd/>
            <a:tailEnd/>
          </a:ln>
        </p:spPr>
        <p:txBody>
          <a:bodyPr wrap="none" anchor="ctr"/>
          <a:lstStyle/>
          <a:p>
            <a:pPr defTabSz="457200" fontAlgn="auto">
              <a:spcBef>
                <a:spcPts val="0"/>
              </a:spcBef>
              <a:spcAft>
                <a:spcPts val="0"/>
              </a:spcAft>
            </a:pPr>
            <a:r>
              <a:rPr lang="en-US" sz="900" b="1">
                <a:solidFill>
                  <a:srgbClr val="FFFFFF"/>
                </a:solidFill>
                <a:latin typeface="Verdana" pitchFamily="34" charset="0"/>
                <a:cs typeface="+mn-cs"/>
              </a:rPr>
              <a:t>NAM</a:t>
            </a:r>
          </a:p>
        </p:txBody>
      </p:sp>
      <p:sp>
        <p:nvSpPr>
          <p:cNvPr id="432" name="TextBox 218"/>
          <p:cNvSpPr txBox="1">
            <a:spLocks noChangeArrowheads="1"/>
          </p:cNvSpPr>
          <p:nvPr/>
        </p:nvSpPr>
        <p:spPr bwMode="auto">
          <a:xfrm>
            <a:off x="2579566" y="3690545"/>
            <a:ext cx="1338262" cy="200025"/>
          </a:xfrm>
          <a:prstGeom prst="rect">
            <a:avLst/>
          </a:prstGeom>
          <a:noFill/>
          <a:ln w="9525">
            <a:noFill/>
            <a:miter lim="800000"/>
            <a:headEnd/>
            <a:tailEnd/>
          </a:ln>
        </p:spPr>
        <p:txBody>
          <a:bodyPr>
            <a:spAutoFit/>
          </a:bodyPr>
          <a:lstStyle/>
          <a:p>
            <a:pPr defTabSz="457200" fontAlgn="auto">
              <a:spcBef>
                <a:spcPts val="0"/>
              </a:spcBef>
              <a:spcAft>
                <a:spcPts val="0"/>
              </a:spcAft>
            </a:pPr>
            <a:r>
              <a:rPr lang="en-US" sz="700" b="1" dirty="0">
                <a:solidFill>
                  <a:srgbClr val="231F20"/>
                </a:solidFill>
                <a:latin typeface="Verdana" pitchFamily="34" charset="0"/>
                <a:cs typeface="+mn-cs"/>
              </a:rPr>
              <a:t>Mauro </a:t>
            </a:r>
            <a:r>
              <a:rPr lang="en-US" sz="700" b="1" dirty="0" err="1">
                <a:solidFill>
                  <a:srgbClr val="231F20"/>
                </a:solidFill>
                <a:latin typeface="Verdana" pitchFamily="34" charset="0"/>
                <a:cs typeface="+mn-cs"/>
              </a:rPr>
              <a:t>Suazo</a:t>
            </a:r>
            <a:endParaRPr lang="en-GB" sz="1600" dirty="0">
              <a:solidFill>
                <a:srgbClr val="231F20"/>
              </a:solidFill>
              <a:latin typeface="Verdana" pitchFamily="34" charset="0"/>
              <a:cs typeface="+mn-cs"/>
            </a:endParaRPr>
          </a:p>
        </p:txBody>
      </p:sp>
      <p:sp>
        <p:nvSpPr>
          <p:cNvPr id="433" name="AutoShape 12"/>
          <p:cNvSpPr>
            <a:spLocks noChangeArrowheads="1"/>
          </p:cNvSpPr>
          <p:nvPr/>
        </p:nvSpPr>
        <p:spPr bwMode="auto">
          <a:xfrm>
            <a:off x="709042" y="3933974"/>
            <a:ext cx="984250" cy="228600"/>
          </a:xfrm>
          <a:prstGeom prst="roundRect">
            <a:avLst>
              <a:gd name="adj" fmla="val 16667"/>
            </a:avLst>
          </a:prstGeom>
          <a:solidFill>
            <a:schemeClr val="accent3"/>
          </a:solidFill>
          <a:ln w="9525">
            <a:noFill/>
            <a:round/>
            <a:headEnd/>
            <a:tailEnd/>
          </a:ln>
        </p:spPr>
        <p:txBody>
          <a:bodyPr wrap="none" anchor="ctr"/>
          <a:lstStyle/>
          <a:p>
            <a:pPr defTabSz="457200" fontAlgn="auto">
              <a:spcBef>
                <a:spcPts val="0"/>
              </a:spcBef>
              <a:spcAft>
                <a:spcPts val="0"/>
              </a:spcAft>
              <a:defRPr/>
            </a:pPr>
            <a:r>
              <a:rPr lang="en-US" sz="900" b="1" dirty="0">
                <a:solidFill>
                  <a:srgbClr val="FFFFFF"/>
                </a:solidFill>
                <a:latin typeface="Verdana"/>
                <a:cs typeface="Verdana"/>
              </a:rPr>
              <a:t>LAM / CAM</a:t>
            </a:r>
          </a:p>
        </p:txBody>
      </p:sp>
      <p:sp>
        <p:nvSpPr>
          <p:cNvPr id="434" name="AutoShape 12"/>
          <p:cNvSpPr>
            <a:spLocks noChangeArrowheads="1"/>
          </p:cNvSpPr>
          <p:nvPr/>
        </p:nvSpPr>
        <p:spPr bwMode="auto">
          <a:xfrm>
            <a:off x="2936304" y="5178574"/>
            <a:ext cx="984250" cy="228600"/>
          </a:xfrm>
          <a:prstGeom prst="roundRect">
            <a:avLst>
              <a:gd name="adj" fmla="val 16667"/>
            </a:avLst>
          </a:prstGeom>
          <a:solidFill>
            <a:schemeClr val="accent2">
              <a:lumMod val="40000"/>
              <a:lumOff val="60000"/>
            </a:schemeClr>
          </a:solidFill>
          <a:ln w="9525">
            <a:noFill/>
            <a:round/>
            <a:headEnd/>
            <a:tailEnd/>
          </a:ln>
        </p:spPr>
        <p:txBody>
          <a:bodyPr wrap="none" anchor="ctr"/>
          <a:lstStyle/>
          <a:p>
            <a:pPr defTabSz="457200" fontAlgn="auto">
              <a:spcBef>
                <a:spcPts val="0"/>
              </a:spcBef>
              <a:spcAft>
                <a:spcPts val="0"/>
              </a:spcAft>
              <a:defRPr/>
            </a:pPr>
            <a:r>
              <a:rPr lang="en-US" sz="900" b="1" dirty="0">
                <a:solidFill>
                  <a:srgbClr val="FFFFFF"/>
                </a:solidFill>
                <a:latin typeface="Verdana"/>
                <a:cs typeface="Verdana"/>
              </a:rPr>
              <a:t>LAM / ECSA</a:t>
            </a:r>
          </a:p>
        </p:txBody>
      </p:sp>
      <p:sp>
        <p:nvSpPr>
          <p:cNvPr id="435" name="AutoShape 12"/>
          <p:cNvSpPr>
            <a:spLocks noChangeArrowheads="1"/>
          </p:cNvSpPr>
          <p:nvPr/>
        </p:nvSpPr>
        <p:spPr bwMode="auto">
          <a:xfrm>
            <a:off x="1440879" y="4848374"/>
            <a:ext cx="984250" cy="228600"/>
          </a:xfrm>
          <a:prstGeom prst="roundRect">
            <a:avLst>
              <a:gd name="adj" fmla="val 16667"/>
            </a:avLst>
          </a:prstGeom>
          <a:solidFill>
            <a:schemeClr val="accent2"/>
          </a:solidFill>
          <a:ln w="9525">
            <a:noFill/>
            <a:round/>
            <a:headEnd/>
            <a:tailEnd/>
          </a:ln>
        </p:spPr>
        <p:txBody>
          <a:bodyPr wrap="none" anchor="ctr"/>
          <a:lstStyle/>
          <a:p>
            <a:pPr defTabSz="457200" fontAlgn="auto">
              <a:spcBef>
                <a:spcPts val="0"/>
              </a:spcBef>
              <a:spcAft>
                <a:spcPts val="0"/>
              </a:spcAft>
            </a:pPr>
            <a:r>
              <a:rPr lang="en-US" sz="900" b="1">
                <a:solidFill>
                  <a:srgbClr val="FFFFFF"/>
                </a:solidFill>
                <a:latin typeface="Verdana" pitchFamily="34" charset="0"/>
                <a:cs typeface="+mn-cs"/>
              </a:rPr>
              <a:t>LAM / WCSA</a:t>
            </a:r>
          </a:p>
        </p:txBody>
      </p:sp>
      <p:sp>
        <p:nvSpPr>
          <p:cNvPr id="436" name="TextBox 222"/>
          <p:cNvSpPr txBox="1">
            <a:spLocks noChangeArrowheads="1"/>
          </p:cNvSpPr>
          <p:nvPr/>
        </p:nvSpPr>
        <p:spPr bwMode="auto">
          <a:xfrm>
            <a:off x="1539735" y="5056337"/>
            <a:ext cx="1338262" cy="200025"/>
          </a:xfrm>
          <a:prstGeom prst="rect">
            <a:avLst/>
          </a:prstGeom>
          <a:noFill/>
          <a:ln w="9525">
            <a:noFill/>
            <a:miter lim="800000"/>
            <a:headEnd/>
            <a:tailEnd/>
          </a:ln>
        </p:spPr>
        <p:txBody>
          <a:bodyPr>
            <a:spAutoFit/>
          </a:bodyPr>
          <a:lstStyle/>
          <a:p>
            <a:pPr defTabSz="457200" fontAlgn="auto">
              <a:spcBef>
                <a:spcPts val="0"/>
              </a:spcBef>
              <a:spcAft>
                <a:spcPts val="0"/>
              </a:spcAft>
            </a:pPr>
            <a:r>
              <a:rPr lang="en-US" sz="700" b="1" dirty="0">
                <a:solidFill>
                  <a:srgbClr val="231F20"/>
                </a:solidFill>
                <a:latin typeface="Verdana" pitchFamily="34" charset="0"/>
                <a:cs typeface="+mn-cs"/>
              </a:rPr>
              <a:t>Joe Salinas</a:t>
            </a:r>
            <a:endParaRPr lang="en-GB" sz="1600" dirty="0">
              <a:solidFill>
                <a:srgbClr val="231F20"/>
              </a:solidFill>
              <a:latin typeface="Verdana" pitchFamily="34" charset="0"/>
              <a:cs typeface="+mn-cs"/>
            </a:endParaRPr>
          </a:p>
        </p:txBody>
      </p:sp>
      <p:sp>
        <p:nvSpPr>
          <p:cNvPr id="437" name="TextBox 223"/>
          <p:cNvSpPr txBox="1">
            <a:spLocks noChangeArrowheads="1"/>
          </p:cNvSpPr>
          <p:nvPr/>
        </p:nvSpPr>
        <p:spPr bwMode="auto">
          <a:xfrm>
            <a:off x="757676" y="4150416"/>
            <a:ext cx="1338262" cy="200025"/>
          </a:xfrm>
          <a:prstGeom prst="rect">
            <a:avLst/>
          </a:prstGeom>
          <a:noFill/>
          <a:ln w="9525">
            <a:noFill/>
            <a:miter lim="800000"/>
            <a:headEnd/>
            <a:tailEnd/>
          </a:ln>
        </p:spPr>
        <p:txBody>
          <a:bodyPr>
            <a:spAutoFit/>
          </a:bodyPr>
          <a:lstStyle/>
          <a:p>
            <a:pPr defTabSz="457200" fontAlgn="auto">
              <a:spcBef>
                <a:spcPts val="0"/>
              </a:spcBef>
              <a:spcAft>
                <a:spcPts val="0"/>
              </a:spcAft>
            </a:pPr>
            <a:r>
              <a:rPr lang="en-US" sz="700" b="1" dirty="0">
                <a:solidFill>
                  <a:srgbClr val="231F20"/>
                </a:solidFill>
                <a:latin typeface="Verdana" pitchFamily="34" charset="0"/>
                <a:cs typeface="+mn-cs"/>
              </a:rPr>
              <a:t>Oscar </a:t>
            </a:r>
            <a:r>
              <a:rPr lang="en-US" sz="700" b="1" dirty="0" err="1">
                <a:solidFill>
                  <a:srgbClr val="231F20"/>
                </a:solidFill>
                <a:latin typeface="Verdana" pitchFamily="34" charset="0"/>
                <a:cs typeface="+mn-cs"/>
              </a:rPr>
              <a:t>Oporta</a:t>
            </a:r>
            <a:endParaRPr lang="en-GB" sz="1600" dirty="0">
              <a:solidFill>
                <a:srgbClr val="231F20"/>
              </a:solidFill>
              <a:latin typeface="Verdana" pitchFamily="34" charset="0"/>
              <a:cs typeface="+mn-cs"/>
            </a:endParaRPr>
          </a:p>
        </p:txBody>
      </p:sp>
      <p:sp>
        <p:nvSpPr>
          <p:cNvPr id="438" name="TextBox 224"/>
          <p:cNvSpPr txBox="1">
            <a:spLocks noChangeArrowheads="1"/>
          </p:cNvSpPr>
          <p:nvPr/>
        </p:nvSpPr>
        <p:spPr bwMode="auto">
          <a:xfrm>
            <a:off x="2806015" y="5412138"/>
            <a:ext cx="1563687" cy="200025"/>
          </a:xfrm>
          <a:prstGeom prst="rect">
            <a:avLst/>
          </a:prstGeom>
          <a:noFill/>
          <a:ln w="9525">
            <a:noFill/>
            <a:miter lim="800000"/>
            <a:headEnd/>
            <a:tailEnd/>
          </a:ln>
        </p:spPr>
        <p:txBody>
          <a:bodyPr>
            <a:spAutoFit/>
          </a:bodyPr>
          <a:lstStyle/>
          <a:p>
            <a:pPr defTabSz="457200" fontAlgn="auto">
              <a:spcBef>
                <a:spcPts val="0"/>
              </a:spcBef>
              <a:spcAft>
                <a:spcPts val="300"/>
              </a:spcAft>
            </a:pPr>
            <a:r>
              <a:rPr lang="en-US" sz="700" b="1" dirty="0">
                <a:solidFill>
                  <a:srgbClr val="231F20"/>
                </a:solidFill>
                <a:latin typeface="Verdana" pitchFamily="34" charset="0"/>
                <a:cs typeface="+mn-cs"/>
              </a:rPr>
              <a:t>Axel  </a:t>
            </a:r>
            <a:r>
              <a:rPr lang="en-US" sz="700" b="1" dirty="0" err="1">
                <a:solidFill>
                  <a:srgbClr val="231F20"/>
                </a:solidFill>
                <a:latin typeface="Verdana" pitchFamily="34" charset="0"/>
                <a:cs typeface="+mn-cs"/>
              </a:rPr>
              <a:t>Kreutzmann</a:t>
            </a:r>
            <a:endParaRPr lang="en-GB" sz="1600" dirty="0">
              <a:solidFill>
                <a:srgbClr val="231F20"/>
              </a:solidFill>
              <a:latin typeface="Verdana" pitchFamily="34" charset="0"/>
              <a:cs typeface="+mn-cs"/>
            </a:endParaRPr>
          </a:p>
        </p:txBody>
      </p:sp>
      <p:sp>
        <p:nvSpPr>
          <p:cNvPr id="439" name="AutoShape 12"/>
          <p:cNvSpPr>
            <a:spLocks noChangeArrowheads="1"/>
          </p:cNvSpPr>
          <p:nvPr/>
        </p:nvSpPr>
        <p:spPr bwMode="auto">
          <a:xfrm>
            <a:off x="4249167" y="1844824"/>
            <a:ext cx="984250" cy="228600"/>
          </a:xfrm>
          <a:prstGeom prst="roundRect">
            <a:avLst>
              <a:gd name="adj" fmla="val 16667"/>
            </a:avLst>
          </a:prstGeom>
          <a:solidFill>
            <a:srgbClr val="00B050"/>
          </a:solidFill>
          <a:ln w="9525">
            <a:noFill/>
            <a:round/>
            <a:headEnd/>
            <a:tailEnd/>
          </a:ln>
        </p:spPr>
        <p:txBody>
          <a:bodyPr wrap="none" anchor="ctr"/>
          <a:lstStyle/>
          <a:p>
            <a:pPr defTabSz="457200" fontAlgn="auto">
              <a:spcBef>
                <a:spcPts val="0"/>
              </a:spcBef>
              <a:spcAft>
                <a:spcPts val="0"/>
              </a:spcAft>
            </a:pPr>
            <a:r>
              <a:rPr lang="en-US" sz="900" b="1">
                <a:solidFill>
                  <a:srgbClr val="FFFFFF"/>
                </a:solidFill>
                <a:latin typeface="Verdana" pitchFamily="34" charset="0"/>
                <a:cs typeface="+mn-cs"/>
              </a:rPr>
              <a:t>EUR </a:t>
            </a:r>
          </a:p>
        </p:txBody>
      </p:sp>
      <p:sp>
        <p:nvSpPr>
          <p:cNvPr id="440" name="TextBox 226"/>
          <p:cNvSpPr txBox="1">
            <a:spLocks noChangeArrowheads="1"/>
          </p:cNvSpPr>
          <p:nvPr/>
        </p:nvSpPr>
        <p:spPr bwMode="auto">
          <a:xfrm>
            <a:off x="4339599" y="2040105"/>
            <a:ext cx="1338262" cy="200025"/>
          </a:xfrm>
          <a:prstGeom prst="rect">
            <a:avLst/>
          </a:prstGeom>
          <a:noFill/>
          <a:ln w="9525">
            <a:noFill/>
            <a:miter lim="800000"/>
            <a:headEnd/>
            <a:tailEnd/>
          </a:ln>
        </p:spPr>
        <p:txBody>
          <a:bodyPr>
            <a:spAutoFit/>
          </a:bodyPr>
          <a:lstStyle/>
          <a:p>
            <a:pPr defTabSz="457200" fontAlgn="auto">
              <a:spcBef>
                <a:spcPts val="0"/>
              </a:spcBef>
              <a:spcAft>
                <a:spcPts val="0"/>
              </a:spcAft>
            </a:pPr>
            <a:r>
              <a:rPr lang="en-US" sz="700" b="1" dirty="0">
                <a:solidFill>
                  <a:srgbClr val="231F20"/>
                </a:solidFill>
                <a:latin typeface="Verdana" pitchFamily="34" charset="0"/>
                <a:cs typeface="+mn-cs"/>
              </a:rPr>
              <a:t>Erik </a:t>
            </a:r>
            <a:r>
              <a:rPr lang="en-US" sz="700" b="1" dirty="0" err="1">
                <a:solidFill>
                  <a:srgbClr val="231F20"/>
                </a:solidFill>
                <a:latin typeface="Verdana" pitchFamily="34" charset="0"/>
                <a:cs typeface="+mn-cs"/>
              </a:rPr>
              <a:t>Osinga</a:t>
            </a:r>
            <a:endParaRPr lang="en-GB" sz="700" dirty="0">
              <a:solidFill>
                <a:srgbClr val="231F20"/>
              </a:solidFill>
              <a:latin typeface="Verdana" pitchFamily="34" charset="0"/>
              <a:cs typeface="+mn-cs"/>
            </a:endParaRPr>
          </a:p>
        </p:txBody>
      </p:sp>
      <p:sp>
        <p:nvSpPr>
          <p:cNvPr id="441" name="AutoShape 12"/>
          <p:cNvSpPr>
            <a:spLocks noChangeArrowheads="1"/>
          </p:cNvSpPr>
          <p:nvPr/>
        </p:nvSpPr>
        <p:spPr bwMode="auto">
          <a:xfrm>
            <a:off x="4584129" y="5178574"/>
            <a:ext cx="984250" cy="228600"/>
          </a:xfrm>
          <a:prstGeom prst="roundRect">
            <a:avLst>
              <a:gd name="adj" fmla="val 16667"/>
            </a:avLst>
          </a:prstGeom>
          <a:solidFill>
            <a:srgbClr val="FFC000"/>
          </a:solidFill>
          <a:ln w="9525">
            <a:noFill/>
            <a:round/>
            <a:headEnd/>
            <a:tailEnd/>
          </a:ln>
        </p:spPr>
        <p:txBody>
          <a:bodyPr wrap="none" anchor="ctr"/>
          <a:lstStyle/>
          <a:p>
            <a:pPr defTabSz="457200" fontAlgn="auto">
              <a:spcBef>
                <a:spcPts val="0"/>
              </a:spcBef>
              <a:spcAft>
                <a:spcPts val="0"/>
              </a:spcAft>
            </a:pPr>
            <a:r>
              <a:rPr lang="en-US" sz="900" b="1">
                <a:solidFill>
                  <a:srgbClr val="FFFFFF"/>
                </a:solidFill>
                <a:latin typeface="Verdana" pitchFamily="34" charset="0"/>
                <a:cs typeface="+mn-cs"/>
              </a:rPr>
              <a:t>AFR</a:t>
            </a:r>
          </a:p>
        </p:txBody>
      </p:sp>
      <p:sp>
        <p:nvSpPr>
          <p:cNvPr id="442" name="TextBox 228"/>
          <p:cNvSpPr txBox="1">
            <a:spLocks noChangeArrowheads="1"/>
          </p:cNvSpPr>
          <p:nvPr/>
        </p:nvSpPr>
        <p:spPr bwMode="auto">
          <a:xfrm>
            <a:off x="4287574" y="5407174"/>
            <a:ext cx="1565275" cy="200025"/>
          </a:xfrm>
          <a:prstGeom prst="rect">
            <a:avLst/>
          </a:prstGeom>
          <a:noFill/>
          <a:ln w="9525">
            <a:noFill/>
            <a:miter lim="800000"/>
            <a:headEnd/>
            <a:tailEnd/>
          </a:ln>
        </p:spPr>
        <p:txBody>
          <a:bodyPr>
            <a:spAutoFit/>
          </a:bodyPr>
          <a:lstStyle/>
          <a:p>
            <a:pPr algn="ctr" defTabSz="457200" fontAlgn="auto">
              <a:spcBef>
                <a:spcPts val="0"/>
              </a:spcBef>
              <a:spcAft>
                <a:spcPts val="300"/>
              </a:spcAft>
            </a:pPr>
            <a:r>
              <a:rPr lang="en-US" sz="700" b="1" dirty="0">
                <a:solidFill>
                  <a:srgbClr val="231F20"/>
                </a:solidFill>
                <a:latin typeface="Verdana" pitchFamily="34" charset="0"/>
                <a:cs typeface="+mn-cs"/>
              </a:rPr>
              <a:t>Chris Baard</a:t>
            </a:r>
            <a:endParaRPr lang="en-GB" sz="1600" dirty="0">
              <a:solidFill>
                <a:srgbClr val="231F20"/>
              </a:solidFill>
              <a:latin typeface="Verdana" pitchFamily="34" charset="0"/>
              <a:cs typeface="+mn-cs"/>
            </a:endParaRPr>
          </a:p>
        </p:txBody>
      </p:sp>
      <p:sp>
        <p:nvSpPr>
          <p:cNvPr id="443" name="AutoShape 12"/>
          <p:cNvSpPr>
            <a:spLocks noChangeArrowheads="1"/>
          </p:cNvSpPr>
          <p:nvPr/>
        </p:nvSpPr>
        <p:spPr bwMode="auto">
          <a:xfrm>
            <a:off x="7676579" y="3681562"/>
            <a:ext cx="984250" cy="228600"/>
          </a:xfrm>
          <a:prstGeom prst="roundRect">
            <a:avLst>
              <a:gd name="adj" fmla="val 16667"/>
            </a:avLst>
          </a:prstGeom>
          <a:solidFill>
            <a:schemeClr val="accent6"/>
          </a:solidFill>
          <a:ln w="9525">
            <a:noFill/>
            <a:round/>
            <a:headEnd/>
            <a:tailEnd/>
          </a:ln>
        </p:spPr>
        <p:txBody>
          <a:bodyPr wrap="none" anchor="ctr"/>
          <a:lstStyle/>
          <a:p>
            <a:pPr defTabSz="457200" fontAlgn="auto">
              <a:spcBef>
                <a:spcPts val="0"/>
              </a:spcBef>
              <a:spcAft>
                <a:spcPts val="0"/>
              </a:spcAft>
              <a:defRPr/>
            </a:pPr>
            <a:r>
              <a:rPr lang="en-US" sz="900" b="1" dirty="0">
                <a:solidFill>
                  <a:srgbClr val="FFFFFF"/>
                </a:solidFill>
                <a:latin typeface="Verdana"/>
                <a:cs typeface="Verdana"/>
              </a:rPr>
              <a:t>NAS</a:t>
            </a:r>
          </a:p>
        </p:txBody>
      </p:sp>
      <p:sp>
        <p:nvSpPr>
          <p:cNvPr id="444" name="AutoShape 12"/>
          <p:cNvSpPr>
            <a:spLocks noChangeArrowheads="1"/>
          </p:cNvSpPr>
          <p:nvPr/>
        </p:nvSpPr>
        <p:spPr bwMode="auto">
          <a:xfrm>
            <a:off x="6192267" y="4722962"/>
            <a:ext cx="984250" cy="228600"/>
          </a:xfrm>
          <a:prstGeom prst="roundRect">
            <a:avLst>
              <a:gd name="adj" fmla="val 16667"/>
            </a:avLst>
          </a:prstGeom>
          <a:solidFill>
            <a:srgbClr val="7030A0"/>
          </a:solidFill>
          <a:ln w="9525">
            <a:noFill/>
            <a:round/>
            <a:headEnd/>
            <a:tailEnd/>
          </a:ln>
        </p:spPr>
        <p:txBody>
          <a:bodyPr wrap="none" anchor="ctr"/>
          <a:lstStyle/>
          <a:p>
            <a:pPr defTabSz="457200" fontAlgn="auto">
              <a:spcBef>
                <a:spcPts val="0"/>
              </a:spcBef>
              <a:spcAft>
                <a:spcPts val="0"/>
              </a:spcAft>
            </a:pPr>
            <a:r>
              <a:rPr lang="en-US" sz="900" b="1">
                <a:solidFill>
                  <a:srgbClr val="FFFFFF"/>
                </a:solidFill>
                <a:latin typeface="Verdana" pitchFamily="34" charset="0"/>
                <a:cs typeface="+mn-cs"/>
              </a:rPr>
              <a:t>SAA</a:t>
            </a:r>
          </a:p>
        </p:txBody>
      </p:sp>
      <p:sp>
        <p:nvSpPr>
          <p:cNvPr id="445" name="AutoShape 12"/>
          <p:cNvSpPr>
            <a:spLocks noChangeArrowheads="1"/>
          </p:cNvSpPr>
          <p:nvPr/>
        </p:nvSpPr>
        <p:spPr bwMode="auto">
          <a:xfrm>
            <a:off x="5746179" y="4207024"/>
            <a:ext cx="984250" cy="228600"/>
          </a:xfrm>
          <a:prstGeom prst="roundRect">
            <a:avLst>
              <a:gd name="adj" fmla="val 16667"/>
            </a:avLst>
          </a:prstGeom>
          <a:solidFill>
            <a:schemeClr val="bg1">
              <a:lumMod val="65000"/>
            </a:schemeClr>
          </a:solidFill>
          <a:ln w="9525">
            <a:noFill/>
            <a:round/>
            <a:headEnd/>
            <a:tailEnd/>
          </a:ln>
        </p:spPr>
        <p:txBody>
          <a:bodyPr wrap="none" anchor="ctr"/>
          <a:lstStyle/>
          <a:p>
            <a:pPr defTabSz="457200" fontAlgn="auto">
              <a:spcBef>
                <a:spcPts val="0"/>
              </a:spcBef>
              <a:spcAft>
                <a:spcPts val="0"/>
              </a:spcAft>
              <a:defRPr/>
            </a:pPr>
            <a:r>
              <a:rPr lang="en-US" sz="900" b="1" dirty="0">
                <a:solidFill>
                  <a:srgbClr val="FFFFFF"/>
                </a:solidFill>
                <a:latin typeface="Verdana"/>
                <a:cs typeface="Verdana"/>
              </a:rPr>
              <a:t>MEA </a:t>
            </a:r>
          </a:p>
        </p:txBody>
      </p:sp>
      <p:sp>
        <p:nvSpPr>
          <p:cNvPr id="446" name="TextBox 234"/>
          <p:cNvSpPr txBox="1">
            <a:spLocks noChangeArrowheads="1"/>
          </p:cNvSpPr>
          <p:nvPr/>
        </p:nvSpPr>
        <p:spPr bwMode="auto">
          <a:xfrm>
            <a:off x="6192267" y="4971658"/>
            <a:ext cx="1339850" cy="200025"/>
          </a:xfrm>
          <a:prstGeom prst="rect">
            <a:avLst/>
          </a:prstGeom>
          <a:noFill/>
          <a:ln w="9525">
            <a:noFill/>
            <a:miter lim="800000"/>
            <a:headEnd/>
            <a:tailEnd/>
          </a:ln>
        </p:spPr>
        <p:txBody>
          <a:bodyPr>
            <a:spAutoFit/>
          </a:bodyPr>
          <a:lstStyle/>
          <a:p>
            <a:pPr defTabSz="457200" fontAlgn="auto">
              <a:spcBef>
                <a:spcPts val="0"/>
              </a:spcBef>
              <a:spcAft>
                <a:spcPts val="300"/>
              </a:spcAft>
            </a:pPr>
            <a:r>
              <a:rPr lang="en-US" sz="700" b="1">
                <a:solidFill>
                  <a:srgbClr val="231F20"/>
                </a:solidFill>
                <a:latin typeface="Verdana" pitchFamily="34" charset="0"/>
                <a:cs typeface="+mn-cs"/>
              </a:rPr>
              <a:t>Purnendu Shekhar</a:t>
            </a:r>
          </a:p>
        </p:txBody>
      </p:sp>
      <p:sp>
        <p:nvSpPr>
          <p:cNvPr id="447" name="TextBox 235"/>
          <p:cNvSpPr txBox="1">
            <a:spLocks noChangeArrowheads="1"/>
          </p:cNvSpPr>
          <p:nvPr/>
        </p:nvSpPr>
        <p:spPr bwMode="auto">
          <a:xfrm>
            <a:off x="5760467" y="4446737"/>
            <a:ext cx="1338262" cy="200025"/>
          </a:xfrm>
          <a:prstGeom prst="rect">
            <a:avLst/>
          </a:prstGeom>
          <a:noFill/>
          <a:ln w="9525">
            <a:noFill/>
            <a:miter lim="800000"/>
            <a:headEnd/>
            <a:tailEnd/>
          </a:ln>
        </p:spPr>
        <p:txBody>
          <a:bodyPr>
            <a:spAutoFit/>
          </a:bodyPr>
          <a:lstStyle/>
          <a:p>
            <a:pPr defTabSz="457200" fontAlgn="auto">
              <a:spcBef>
                <a:spcPts val="0"/>
              </a:spcBef>
              <a:spcAft>
                <a:spcPts val="300"/>
              </a:spcAft>
            </a:pPr>
            <a:r>
              <a:rPr lang="en-US" sz="700" b="1" dirty="0">
                <a:solidFill>
                  <a:srgbClr val="231F20"/>
                </a:solidFill>
                <a:latin typeface="Verdana" pitchFamily="34" charset="0"/>
                <a:cs typeface="+mn-cs"/>
              </a:rPr>
              <a:t>Wade Thompson</a:t>
            </a:r>
          </a:p>
        </p:txBody>
      </p:sp>
      <p:sp>
        <p:nvSpPr>
          <p:cNvPr id="448" name="TextBox 236"/>
          <p:cNvSpPr txBox="1">
            <a:spLocks noChangeArrowheads="1"/>
          </p:cNvSpPr>
          <p:nvPr/>
        </p:nvSpPr>
        <p:spPr bwMode="auto">
          <a:xfrm>
            <a:off x="7712532" y="3923403"/>
            <a:ext cx="1338262" cy="200025"/>
          </a:xfrm>
          <a:prstGeom prst="rect">
            <a:avLst/>
          </a:prstGeom>
          <a:noFill/>
          <a:ln w="9525">
            <a:noFill/>
            <a:miter lim="800000"/>
            <a:headEnd/>
            <a:tailEnd/>
          </a:ln>
        </p:spPr>
        <p:txBody>
          <a:bodyPr>
            <a:spAutoFit/>
          </a:bodyPr>
          <a:lstStyle/>
          <a:p>
            <a:pPr defTabSz="457200" fontAlgn="auto">
              <a:spcBef>
                <a:spcPts val="0"/>
              </a:spcBef>
              <a:spcAft>
                <a:spcPts val="0"/>
              </a:spcAft>
            </a:pPr>
            <a:r>
              <a:rPr lang="en-US" sz="700" b="1" dirty="0">
                <a:solidFill>
                  <a:srgbClr val="231F20"/>
                </a:solidFill>
                <a:latin typeface="Verdana" pitchFamily="34" charset="0"/>
                <a:cs typeface="+mn-cs"/>
              </a:rPr>
              <a:t>Anne </a:t>
            </a:r>
            <a:r>
              <a:rPr lang="en-US" sz="700" b="1" dirty="0" err="1">
                <a:solidFill>
                  <a:srgbClr val="231F20"/>
                </a:solidFill>
                <a:latin typeface="Verdana" pitchFamily="34" charset="0"/>
                <a:cs typeface="+mn-cs"/>
              </a:rPr>
              <a:t>Marcotty</a:t>
            </a:r>
            <a:endParaRPr lang="en-GB" sz="1600" dirty="0">
              <a:solidFill>
                <a:srgbClr val="231F20"/>
              </a:solidFill>
              <a:latin typeface="Verdana" pitchFamily="34" charset="0"/>
              <a:cs typeface="+mn-cs"/>
            </a:endParaRPr>
          </a:p>
        </p:txBody>
      </p:sp>
      <p:sp>
        <p:nvSpPr>
          <p:cNvPr id="449" name="TextBox 237"/>
          <p:cNvSpPr txBox="1">
            <a:spLocks noChangeArrowheads="1"/>
          </p:cNvSpPr>
          <p:nvPr/>
        </p:nvSpPr>
        <p:spPr bwMode="auto">
          <a:xfrm>
            <a:off x="7416229" y="5413506"/>
            <a:ext cx="1692275" cy="198437"/>
          </a:xfrm>
          <a:prstGeom prst="rect">
            <a:avLst/>
          </a:prstGeom>
          <a:noFill/>
          <a:ln w="9525">
            <a:noFill/>
            <a:miter lim="800000"/>
            <a:headEnd/>
            <a:tailEnd/>
          </a:ln>
        </p:spPr>
        <p:txBody>
          <a:bodyPr>
            <a:spAutoFit/>
          </a:bodyPr>
          <a:lstStyle/>
          <a:p>
            <a:pPr defTabSz="457200" fontAlgn="auto">
              <a:spcBef>
                <a:spcPts val="0"/>
              </a:spcBef>
              <a:spcAft>
                <a:spcPts val="0"/>
              </a:spcAft>
            </a:pPr>
            <a:r>
              <a:rPr lang="en-US" sz="700" b="1">
                <a:solidFill>
                  <a:srgbClr val="231F20"/>
                </a:solidFill>
                <a:latin typeface="Verdana" pitchFamily="34" charset="0"/>
                <a:cs typeface="+mn-cs"/>
              </a:rPr>
              <a:t>Henning Malmgren</a:t>
            </a:r>
            <a:endParaRPr lang="en-GB" sz="1600">
              <a:solidFill>
                <a:srgbClr val="231F20"/>
              </a:solidFill>
              <a:latin typeface="Verdana" pitchFamily="34" charset="0"/>
              <a:cs typeface="+mn-cs"/>
            </a:endParaRPr>
          </a:p>
        </p:txBody>
      </p:sp>
      <p:sp>
        <p:nvSpPr>
          <p:cNvPr id="450" name="AutoShape 12"/>
          <p:cNvSpPr>
            <a:spLocks noChangeArrowheads="1"/>
          </p:cNvSpPr>
          <p:nvPr/>
        </p:nvSpPr>
        <p:spPr bwMode="auto">
          <a:xfrm>
            <a:off x="7484492" y="5156349"/>
            <a:ext cx="984250" cy="228600"/>
          </a:xfrm>
          <a:prstGeom prst="roundRect">
            <a:avLst>
              <a:gd name="adj" fmla="val 16667"/>
            </a:avLst>
          </a:prstGeom>
          <a:solidFill>
            <a:srgbClr val="00B0F0"/>
          </a:solidFill>
          <a:ln w="9525">
            <a:noFill/>
            <a:round/>
            <a:headEnd/>
            <a:tailEnd/>
          </a:ln>
        </p:spPr>
        <p:txBody>
          <a:bodyPr wrap="none" anchor="ctr"/>
          <a:lstStyle/>
          <a:p>
            <a:pPr defTabSz="457200" fontAlgn="auto">
              <a:spcBef>
                <a:spcPts val="0"/>
              </a:spcBef>
              <a:spcAft>
                <a:spcPts val="0"/>
              </a:spcAft>
            </a:pPr>
            <a:r>
              <a:rPr lang="en-US" sz="900" b="1">
                <a:solidFill>
                  <a:srgbClr val="FFFFFF"/>
                </a:solidFill>
                <a:latin typeface="Verdana" pitchFamily="34" charset="0"/>
                <a:cs typeface="+mn-cs"/>
              </a:rPr>
              <a:t>APA</a:t>
            </a:r>
          </a:p>
        </p:txBody>
      </p:sp>
      <p:sp>
        <p:nvSpPr>
          <p:cNvPr id="230" name="TextBox 229"/>
          <p:cNvSpPr txBox="1"/>
          <p:nvPr/>
        </p:nvSpPr>
        <p:spPr>
          <a:xfrm>
            <a:off x="539552" y="332656"/>
            <a:ext cx="3411575" cy="523220"/>
          </a:xfrm>
          <a:prstGeom prst="rect">
            <a:avLst/>
          </a:prstGeom>
          <a:noFill/>
        </p:spPr>
        <p:txBody>
          <a:bodyPr wrap="none" rtlCol="0">
            <a:spAutoFit/>
          </a:bodyPr>
          <a:lstStyle/>
          <a:p>
            <a:r>
              <a:rPr lang="da-DK" sz="2800" dirty="0" smtClean="0">
                <a:latin typeface="+mj-lt"/>
              </a:rPr>
              <a:t>Red Reefer Global</a:t>
            </a:r>
            <a:endParaRPr lang="da-DK" sz="2800" dirty="0">
              <a:latin typeface="+mj-lt"/>
            </a:endParaRPr>
          </a:p>
        </p:txBody>
      </p:sp>
      <p:sp>
        <p:nvSpPr>
          <p:cNvPr id="233" name="Date Placeholder 232"/>
          <p:cNvSpPr>
            <a:spLocks noGrp="1"/>
          </p:cNvSpPr>
          <p:nvPr>
            <p:ph type="dt" sz="half" idx="11"/>
          </p:nvPr>
        </p:nvSpPr>
        <p:spPr/>
        <p:txBody>
          <a:bodyPr/>
          <a:lstStyle/>
          <a:p>
            <a:fld id="{68FE257C-0EDD-42DE-99AB-400D478DA8B5}" type="datetime1">
              <a:rPr lang="es-CR" smtClean="0">
                <a:solidFill>
                  <a:srgbClr val="231F20">
                    <a:tint val="75000"/>
                  </a:srgbClr>
                </a:solidFill>
              </a:rPr>
              <a:pPr/>
              <a:t>29/07/2011</a:t>
            </a:fld>
            <a:endParaRPr lang="en-US" dirty="0">
              <a:solidFill>
                <a:srgbClr val="231F20">
                  <a:tint val="75000"/>
                </a:srgbClr>
              </a:solidFill>
            </a:endParaRPr>
          </a:p>
        </p:txBody>
      </p:sp>
    </p:spTree>
  </p:cSld>
  <p:clrMapOvr>
    <a:masterClrMapping/>
  </p:clrMapOvr>
  <p:transition spd="med" advClick="0" advTm="5000">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9" descr="Screen shot 2010-08-22 at 10.41.59 PM.png"/>
          <p:cNvPicPr>
            <a:picLocks noChangeAspect="1"/>
          </p:cNvPicPr>
          <p:nvPr/>
        </p:nvPicPr>
        <p:blipFill>
          <a:blip r:embed="rId3" cstate="print"/>
          <a:srcRect t="94147"/>
          <a:stretch>
            <a:fillRect/>
          </a:stretch>
        </p:blipFill>
        <p:spPr bwMode="auto">
          <a:xfrm>
            <a:off x="0" y="0"/>
            <a:ext cx="9144000" cy="6858000"/>
          </a:xfrm>
          <a:prstGeom prst="rect">
            <a:avLst/>
          </a:prstGeom>
          <a:noFill/>
          <a:ln w="9525">
            <a:noFill/>
            <a:miter lim="800000"/>
            <a:headEnd/>
            <a:tailEnd/>
          </a:ln>
        </p:spPr>
      </p:pic>
      <p:pic>
        <p:nvPicPr>
          <p:cNvPr id="35843" name="Picture 7" descr="Screen shot 2010-08-22 at 10.40.18 PM.png"/>
          <p:cNvPicPr>
            <a:picLocks noChangeAspect="1"/>
          </p:cNvPicPr>
          <p:nvPr/>
        </p:nvPicPr>
        <p:blipFill>
          <a:blip r:embed="rId4" cstate="print"/>
          <a:srcRect r="1308" b="1176"/>
          <a:stretch>
            <a:fillRect/>
          </a:stretch>
        </p:blipFill>
        <p:spPr bwMode="auto">
          <a:xfrm>
            <a:off x="119063" y="3192463"/>
            <a:ext cx="9024937" cy="3678237"/>
          </a:xfrm>
          <a:prstGeom prst="rect">
            <a:avLst/>
          </a:prstGeom>
          <a:noFill/>
          <a:ln w="9525">
            <a:noFill/>
            <a:miter lim="800000"/>
            <a:headEnd/>
            <a:tailEnd/>
          </a:ln>
        </p:spPr>
      </p:pic>
      <p:pic>
        <p:nvPicPr>
          <p:cNvPr id="35844" name="Picture 8" descr="Screen shot 2010-08-22 at 10.41.59 PM.png"/>
          <p:cNvPicPr>
            <a:picLocks noChangeAspect="1"/>
          </p:cNvPicPr>
          <p:nvPr/>
        </p:nvPicPr>
        <p:blipFill>
          <a:blip r:embed="rId3" cstate="print"/>
          <a:srcRect/>
          <a:stretch>
            <a:fillRect/>
          </a:stretch>
        </p:blipFill>
        <p:spPr bwMode="auto">
          <a:xfrm>
            <a:off x="12700" y="1139825"/>
            <a:ext cx="7912100" cy="2603500"/>
          </a:xfrm>
          <a:prstGeom prst="rect">
            <a:avLst/>
          </a:prstGeom>
          <a:noFill/>
          <a:ln w="9525">
            <a:noFill/>
            <a:miter lim="800000"/>
            <a:headEnd/>
            <a:tailEnd/>
          </a:ln>
        </p:spPr>
      </p:pic>
      <p:sp>
        <p:nvSpPr>
          <p:cNvPr id="35845" name="Title 5"/>
          <p:cNvSpPr>
            <a:spLocks noGrp="1"/>
          </p:cNvSpPr>
          <p:nvPr>
            <p:ph type="title"/>
          </p:nvPr>
        </p:nvSpPr>
        <p:spPr/>
        <p:txBody>
          <a:bodyPr/>
          <a:lstStyle/>
          <a:p>
            <a:r>
              <a:rPr lang="es-CR" dirty="0" smtClean="0">
                <a:solidFill>
                  <a:schemeClr val="bg1"/>
                </a:solidFill>
                <a:ea typeface="ＭＳ Ｐゴシック" pitchFamily="34" charset="-128"/>
              </a:rPr>
              <a:t>Estamos localizados tan cerca de su cliente potencial así como de usted</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5058" name="Rectangle 2" hidden="1"/>
          <p:cNvGraphicFramePr>
            <a:graphicFrameLocks/>
          </p:cNvGraphicFramePr>
          <p:nvPr/>
        </p:nvGraphicFramePr>
        <p:xfrm>
          <a:off x="0" y="0"/>
          <a:ext cx="158750" cy="158750"/>
        </p:xfrm>
        <a:graphic>
          <a:graphicData uri="http://schemas.openxmlformats.org/presentationml/2006/ole">
            <p:oleObj spid="_x0000_s45058" name="think-cell Slide" r:id="rId17" imgW="0" imgH="0" progId="">
              <p:embed/>
            </p:oleObj>
          </a:graphicData>
        </a:graphic>
      </p:graphicFrame>
      <p:sp>
        <p:nvSpPr>
          <p:cNvPr id="45061" name="Title 179"/>
          <p:cNvSpPr>
            <a:spLocks noGrp="1"/>
          </p:cNvSpPr>
          <p:nvPr>
            <p:ph type="title"/>
          </p:nvPr>
        </p:nvSpPr>
        <p:spPr/>
        <p:txBody>
          <a:bodyPr/>
          <a:lstStyle/>
          <a:p>
            <a:r>
              <a:rPr lang="es-CR" dirty="0" smtClean="0">
                <a:ea typeface="ＭＳ Ｐゴシック" pitchFamily="34" charset="-128"/>
              </a:rPr>
              <a:t>Nuestros Principales Clientes en las diferentes industrias.</a:t>
            </a:r>
          </a:p>
        </p:txBody>
      </p:sp>
      <p:sp>
        <p:nvSpPr>
          <p:cNvPr id="45063" name="Rounded Rectangle 10"/>
          <p:cNvSpPr>
            <a:spLocks noChangeArrowheads="1"/>
          </p:cNvSpPr>
          <p:nvPr/>
        </p:nvSpPr>
        <p:spPr bwMode="auto">
          <a:xfrm>
            <a:off x="446088" y="1708150"/>
            <a:ext cx="2597150" cy="1973263"/>
          </a:xfrm>
          <a:prstGeom prst="roundRect">
            <a:avLst>
              <a:gd name="adj" fmla="val 5477"/>
            </a:avLst>
          </a:prstGeom>
          <a:noFill/>
          <a:ln w="12700">
            <a:solidFill>
              <a:srgbClr val="4ABD67"/>
            </a:solidFill>
            <a:prstDash val="dash"/>
            <a:round/>
            <a:headEnd/>
            <a:tailEnd/>
          </a:ln>
        </p:spPr>
        <p:txBody>
          <a:bodyPr lIns="90000" tIns="46800" rIns="90000" bIns="46800" anchor="ctr"/>
          <a:lstStyle/>
          <a:p>
            <a:pPr algn="ctr" eaLnBrk="0" hangingPunct="0">
              <a:spcBef>
                <a:spcPct val="50000"/>
              </a:spcBef>
            </a:pPr>
            <a:endParaRPr lang="en-US" sz="1400" b="1">
              <a:solidFill>
                <a:srgbClr val="FFFFFF"/>
              </a:solidFill>
              <a:latin typeface="Verdana" pitchFamily="34" charset="0"/>
              <a:ea typeface="ＭＳ Ｐゴシック" pitchFamily="34" charset="-128"/>
            </a:endParaRPr>
          </a:p>
        </p:txBody>
      </p:sp>
      <p:sp>
        <p:nvSpPr>
          <p:cNvPr id="45064" name="Rounded Rectangle 10"/>
          <p:cNvSpPr>
            <a:spLocks noChangeArrowheads="1"/>
          </p:cNvSpPr>
          <p:nvPr/>
        </p:nvSpPr>
        <p:spPr bwMode="auto">
          <a:xfrm>
            <a:off x="3276600" y="1708150"/>
            <a:ext cx="2597150" cy="1973263"/>
          </a:xfrm>
          <a:prstGeom prst="roundRect">
            <a:avLst>
              <a:gd name="adj" fmla="val 5477"/>
            </a:avLst>
          </a:prstGeom>
          <a:noFill/>
          <a:ln w="12700">
            <a:solidFill>
              <a:srgbClr val="4ABD67"/>
            </a:solidFill>
            <a:prstDash val="dash"/>
            <a:round/>
            <a:headEnd/>
            <a:tailEnd/>
          </a:ln>
        </p:spPr>
        <p:txBody>
          <a:bodyPr lIns="90000" tIns="46800" rIns="90000" bIns="46800" anchor="ctr"/>
          <a:lstStyle/>
          <a:p>
            <a:pPr algn="ctr" eaLnBrk="0" hangingPunct="0">
              <a:spcBef>
                <a:spcPct val="50000"/>
              </a:spcBef>
            </a:pPr>
            <a:endParaRPr lang="en-US" sz="1400" b="1">
              <a:solidFill>
                <a:srgbClr val="FFFFFF"/>
              </a:solidFill>
              <a:latin typeface="Verdana" pitchFamily="34" charset="0"/>
              <a:ea typeface="ＭＳ Ｐゴシック" pitchFamily="34" charset="-128"/>
            </a:endParaRPr>
          </a:p>
        </p:txBody>
      </p:sp>
      <p:sp>
        <p:nvSpPr>
          <p:cNvPr id="45065" name="Rounded Rectangle 10"/>
          <p:cNvSpPr>
            <a:spLocks noChangeArrowheads="1"/>
          </p:cNvSpPr>
          <p:nvPr/>
        </p:nvSpPr>
        <p:spPr bwMode="auto">
          <a:xfrm>
            <a:off x="6078538" y="1708150"/>
            <a:ext cx="2597150" cy="1973263"/>
          </a:xfrm>
          <a:prstGeom prst="roundRect">
            <a:avLst>
              <a:gd name="adj" fmla="val 5477"/>
            </a:avLst>
          </a:prstGeom>
          <a:noFill/>
          <a:ln w="12700">
            <a:solidFill>
              <a:srgbClr val="4ABD67"/>
            </a:solidFill>
            <a:prstDash val="dash"/>
            <a:round/>
            <a:headEnd/>
            <a:tailEnd/>
          </a:ln>
        </p:spPr>
        <p:txBody>
          <a:bodyPr lIns="90000" tIns="46800" rIns="90000" bIns="46800" anchor="ctr"/>
          <a:lstStyle/>
          <a:p>
            <a:pPr algn="ctr" eaLnBrk="0" hangingPunct="0">
              <a:spcBef>
                <a:spcPct val="50000"/>
              </a:spcBef>
            </a:pPr>
            <a:endParaRPr lang="en-US" sz="1400" b="1">
              <a:solidFill>
                <a:srgbClr val="FFFFFF"/>
              </a:solidFill>
              <a:latin typeface="Verdana" pitchFamily="34" charset="0"/>
              <a:ea typeface="ＭＳ Ｐゴシック" pitchFamily="34" charset="-128"/>
            </a:endParaRPr>
          </a:p>
        </p:txBody>
      </p:sp>
      <p:sp>
        <p:nvSpPr>
          <p:cNvPr id="45066" name="Rounded Rectangle 10"/>
          <p:cNvSpPr>
            <a:spLocks noChangeArrowheads="1"/>
          </p:cNvSpPr>
          <p:nvPr/>
        </p:nvSpPr>
        <p:spPr bwMode="auto">
          <a:xfrm>
            <a:off x="446088" y="3810000"/>
            <a:ext cx="2597150" cy="1973263"/>
          </a:xfrm>
          <a:prstGeom prst="roundRect">
            <a:avLst>
              <a:gd name="adj" fmla="val 5477"/>
            </a:avLst>
          </a:prstGeom>
          <a:noFill/>
          <a:ln w="12700">
            <a:solidFill>
              <a:srgbClr val="4ABD67"/>
            </a:solidFill>
            <a:prstDash val="dash"/>
            <a:round/>
            <a:headEnd/>
            <a:tailEnd/>
          </a:ln>
        </p:spPr>
        <p:txBody>
          <a:bodyPr lIns="90000" tIns="46800" rIns="90000" bIns="46800" anchor="ctr"/>
          <a:lstStyle/>
          <a:p>
            <a:pPr algn="ctr" eaLnBrk="0" hangingPunct="0">
              <a:spcBef>
                <a:spcPct val="50000"/>
              </a:spcBef>
            </a:pPr>
            <a:endParaRPr lang="en-US" sz="1400" b="1">
              <a:solidFill>
                <a:srgbClr val="FFFFFF"/>
              </a:solidFill>
              <a:latin typeface="Verdana" pitchFamily="34" charset="0"/>
              <a:ea typeface="ＭＳ Ｐゴシック" pitchFamily="34" charset="-128"/>
            </a:endParaRPr>
          </a:p>
        </p:txBody>
      </p:sp>
      <p:sp>
        <p:nvSpPr>
          <p:cNvPr id="45067" name="Rounded Rectangle 10"/>
          <p:cNvSpPr>
            <a:spLocks noChangeArrowheads="1"/>
          </p:cNvSpPr>
          <p:nvPr/>
        </p:nvSpPr>
        <p:spPr bwMode="auto">
          <a:xfrm>
            <a:off x="3276600" y="3810000"/>
            <a:ext cx="2597150" cy="1973263"/>
          </a:xfrm>
          <a:prstGeom prst="roundRect">
            <a:avLst>
              <a:gd name="adj" fmla="val 5477"/>
            </a:avLst>
          </a:prstGeom>
          <a:noFill/>
          <a:ln w="12700">
            <a:solidFill>
              <a:srgbClr val="4ABD67"/>
            </a:solidFill>
            <a:prstDash val="dash"/>
            <a:round/>
            <a:headEnd/>
            <a:tailEnd/>
          </a:ln>
        </p:spPr>
        <p:txBody>
          <a:bodyPr lIns="90000" tIns="46800" rIns="90000" bIns="46800" anchor="ctr"/>
          <a:lstStyle/>
          <a:p>
            <a:pPr algn="ctr" eaLnBrk="0" hangingPunct="0">
              <a:spcBef>
                <a:spcPct val="50000"/>
              </a:spcBef>
            </a:pPr>
            <a:endParaRPr lang="en-US" sz="1400" b="1">
              <a:solidFill>
                <a:srgbClr val="FFFFFF"/>
              </a:solidFill>
              <a:latin typeface="Verdana" pitchFamily="34" charset="0"/>
              <a:ea typeface="ＭＳ Ｐゴシック" pitchFamily="34" charset="-128"/>
            </a:endParaRPr>
          </a:p>
        </p:txBody>
      </p:sp>
      <p:sp>
        <p:nvSpPr>
          <p:cNvPr id="45068" name="Rounded Rectangle 10"/>
          <p:cNvSpPr>
            <a:spLocks noChangeArrowheads="1"/>
          </p:cNvSpPr>
          <p:nvPr/>
        </p:nvSpPr>
        <p:spPr bwMode="auto">
          <a:xfrm>
            <a:off x="6078538" y="3810000"/>
            <a:ext cx="2597150" cy="1973263"/>
          </a:xfrm>
          <a:prstGeom prst="roundRect">
            <a:avLst>
              <a:gd name="adj" fmla="val 5477"/>
            </a:avLst>
          </a:prstGeom>
          <a:noFill/>
          <a:ln w="12700">
            <a:solidFill>
              <a:srgbClr val="4ABD67"/>
            </a:solidFill>
            <a:prstDash val="dash"/>
            <a:round/>
            <a:headEnd/>
            <a:tailEnd/>
          </a:ln>
        </p:spPr>
        <p:txBody>
          <a:bodyPr lIns="90000" tIns="46800" rIns="90000" bIns="46800" anchor="ctr"/>
          <a:lstStyle/>
          <a:p>
            <a:pPr algn="ctr" eaLnBrk="0" hangingPunct="0">
              <a:spcBef>
                <a:spcPct val="50000"/>
              </a:spcBef>
            </a:pPr>
            <a:endParaRPr lang="en-US" sz="1400" b="1">
              <a:solidFill>
                <a:srgbClr val="FFFFFF"/>
              </a:solidFill>
              <a:latin typeface="Verdana" pitchFamily="34" charset="0"/>
              <a:ea typeface="ＭＳ Ｐゴシック" pitchFamily="34" charset="-128"/>
            </a:endParaRPr>
          </a:p>
        </p:txBody>
      </p:sp>
      <p:sp>
        <p:nvSpPr>
          <p:cNvPr id="45069" name="Rounded Rectangle 4"/>
          <p:cNvSpPr>
            <a:spLocks noChangeArrowheads="1"/>
          </p:cNvSpPr>
          <p:nvPr/>
        </p:nvSpPr>
        <p:spPr bwMode="auto">
          <a:xfrm>
            <a:off x="446088" y="1708150"/>
            <a:ext cx="2601912" cy="457200"/>
          </a:xfrm>
          <a:prstGeom prst="roundRect">
            <a:avLst>
              <a:gd name="adj" fmla="val 14699"/>
            </a:avLst>
          </a:prstGeom>
          <a:solidFill>
            <a:schemeClr val="accent1"/>
          </a:solidFill>
          <a:ln w="9525">
            <a:noFill/>
            <a:round/>
            <a:headEnd/>
            <a:tailEnd/>
          </a:ln>
        </p:spPr>
        <p:txBody>
          <a:bodyPr lIns="90000" tIns="46800" rIns="90000" bIns="46800" anchor="ctr"/>
          <a:lstStyle/>
          <a:p>
            <a:pPr algn="ctr"/>
            <a:r>
              <a:rPr lang="en-US" sz="1400">
                <a:solidFill>
                  <a:schemeClr val="bg1"/>
                </a:solidFill>
              </a:rPr>
              <a:t>Reefer &amp; Perishables</a:t>
            </a:r>
          </a:p>
        </p:txBody>
      </p:sp>
      <p:sp>
        <p:nvSpPr>
          <p:cNvPr id="45070" name="Rounded Rectangle 10"/>
          <p:cNvSpPr>
            <a:spLocks noChangeArrowheads="1"/>
          </p:cNvSpPr>
          <p:nvPr/>
        </p:nvSpPr>
        <p:spPr bwMode="auto">
          <a:xfrm>
            <a:off x="3265488" y="1701800"/>
            <a:ext cx="2601912" cy="457200"/>
          </a:xfrm>
          <a:prstGeom prst="roundRect">
            <a:avLst>
              <a:gd name="adj" fmla="val 16667"/>
            </a:avLst>
          </a:prstGeom>
          <a:solidFill>
            <a:schemeClr val="accent1"/>
          </a:solidFill>
          <a:ln w="9525">
            <a:noFill/>
            <a:round/>
            <a:headEnd/>
            <a:tailEnd/>
          </a:ln>
        </p:spPr>
        <p:txBody>
          <a:bodyPr lIns="90000" tIns="46800" rIns="90000" bIns="46800" anchor="ctr"/>
          <a:lstStyle/>
          <a:p>
            <a:pPr algn="ctr"/>
            <a:r>
              <a:rPr lang="en-US" sz="1400">
                <a:solidFill>
                  <a:schemeClr val="bg1"/>
                </a:solidFill>
              </a:rPr>
              <a:t>Retail</a:t>
            </a:r>
          </a:p>
        </p:txBody>
      </p:sp>
      <p:sp>
        <p:nvSpPr>
          <p:cNvPr id="45071" name="Rounded Rectangle 77"/>
          <p:cNvSpPr>
            <a:spLocks noChangeArrowheads="1"/>
          </p:cNvSpPr>
          <p:nvPr/>
        </p:nvSpPr>
        <p:spPr bwMode="auto">
          <a:xfrm>
            <a:off x="6073775" y="1701800"/>
            <a:ext cx="2601913" cy="457200"/>
          </a:xfrm>
          <a:prstGeom prst="roundRect">
            <a:avLst>
              <a:gd name="adj" fmla="val 16667"/>
            </a:avLst>
          </a:prstGeom>
          <a:solidFill>
            <a:schemeClr val="accent1"/>
          </a:solidFill>
          <a:ln w="9525">
            <a:noFill/>
            <a:round/>
            <a:headEnd/>
            <a:tailEnd/>
          </a:ln>
        </p:spPr>
        <p:txBody>
          <a:bodyPr lIns="90000" tIns="46800" rIns="90000" bIns="46800" anchor="ctr"/>
          <a:lstStyle/>
          <a:p>
            <a:pPr algn="ctr"/>
            <a:r>
              <a:rPr lang="en-US" sz="1400">
                <a:solidFill>
                  <a:schemeClr val="bg1"/>
                </a:solidFill>
              </a:rPr>
              <a:t>High Value Consumer Goods</a:t>
            </a:r>
          </a:p>
        </p:txBody>
      </p:sp>
      <p:sp>
        <p:nvSpPr>
          <p:cNvPr id="45072" name="Rounded Rectangle 78"/>
          <p:cNvSpPr>
            <a:spLocks noChangeArrowheads="1"/>
          </p:cNvSpPr>
          <p:nvPr/>
        </p:nvSpPr>
        <p:spPr bwMode="auto">
          <a:xfrm>
            <a:off x="446088" y="3803650"/>
            <a:ext cx="2601912" cy="425450"/>
          </a:xfrm>
          <a:prstGeom prst="roundRect">
            <a:avLst>
              <a:gd name="adj" fmla="val 16667"/>
            </a:avLst>
          </a:prstGeom>
          <a:solidFill>
            <a:schemeClr val="accent1"/>
          </a:solidFill>
          <a:ln w="9525">
            <a:noFill/>
            <a:round/>
            <a:headEnd/>
            <a:tailEnd/>
          </a:ln>
        </p:spPr>
        <p:txBody>
          <a:bodyPr lIns="90000" tIns="46800" rIns="90000" bIns="46800" anchor="ctr"/>
          <a:lstStyle/>
          <a:p>
            <a:pPr algn="ctr"/>
            <a:r>
              <a:rPr lang="en-US" sz="1400">
                <a:solidFill>
                  <a:schemeClr val="bg1"/>
                </a:solidFill>
              </a:rPr>
              <a:t>Government &amp; Defense</a:t>
            </a:r>
          </a:p>
        </p:txBody>
      </p:sp>
      <p:sp>
        <p:nvSpPr>
          <p:cNvPr id="45073" name="Rounded Rectangle 20"/>
          <p:cNvSpPr>
            <a:spLocks noChangeArrowheads="1"/>
          </p:cNvSpPr>
          <p:nvPr/>
        </p:nvSpPr>
        <p:spPr bwMode="auto">
          <a:xfrm>
            <a:off x="3282950" y="3803650"/>
            <a:ext cx="2590800" cy="415925"/>
          </a:xfrm>
          <a:prstGeom prst="roundRect">
            <a:avLst>
              <a:gd name="adj" fmla="val 16667"/>
            </a:avLst>
          </a:prstGeom>
          <a:solidFill>
            <a:schemeClr val="accent1"/>
          </a:solidFill>
          <a:ln w="9525">
            <a:noFill/>
            <a:round/>
            <a:headEnd/>
            <a:tailEnd/>
          </a:ln>
        </p:spPr>
        <p:txBody>
          <a:bodyPr lIns="90000" tIns="46800" rIns="90000" bIns="46800" anchor="ctr"/>
          <a:lstStyle/>
          <a:p>
            <a:pPr algn="ctr"/>
            <a:r>
              <a:rPr lang="en-US" sz="1400" b="1">
                <a:solidFill>
                  <a:schemeClr val="bg1"/>
                </a:solidFill>
              </a:rPr>
              <a:t>Chemicals</a:t>
            </a:r>
          </a:p>
        </p:txBody>
      </p:sp>
      <p:sp>
        <p:nvSpPr>
          <p:cNvPr id="45074" name="AutoShape 62"/>
          <p:cNvSpPr>
            <a:spLocks noChangeArrowheads="1"/>
          </p:cNvSpPr>
          <p:nvPr/>
        </p:nvSpPr>
        <p:spPr bwMode="auto">
          <a:xfrm>
            <a:off x="6075363" y="3803650"/>
            <a:ext cx="2600325" cy="381000"/>
          </a:xfrm>
          <a:prstGeom prst="roundRect">
            <a:avLst>
              <a:gd name="adj" fmla="val 16667"/>
            </a:avLst>
          </a:prstGeom>
          <a:solidFill>
            <a:schemeClr val="accent1"/>
          </a:solidFill>
          <a:ln w="9525">
            <a:noFill/>
            <a:round/>
            <a:headEnd/>
            <a:tailEnd/>
          </a:ln>
        </p:spPr>
        <p:txBody>
          <a:bodyPr wrap="none" anchor="ctr"/>
          <a:lstStyle/>
          <a:p>
            <a:pPr algn="ctr"/>
            <a:r>
              <a:rPr lang="da-DK" sz="1400" b="1">
                <a:solidFill>
                  <a:schemeClr val="bg1"/>
                </a:solidFill>
              </a:rPr>
              <a:t>Aid &amp; Relief</a:t>
            </a:r>
          </a:p>
        </p:txBody>
      </p:sp>
      <p:pic>
        <p:nvPicPr>
          <p:cNvPr id="45075" name="Picture 48" descr="he_butt_grocery">
            <a:hlinkClick r:id="rId18"/>
          </p:cNvPr>
          <p:cNvPicPr>
            <a:picLocks noChangeAspect="1" noChangeArrowheads="1"/>
          </p:cNvPicPr>
          <p:nvPr>
            <p:custDataLst>
              <p:tags r:id="rId2"/>
            </p:custDataLst>
          </p:nvPr>
        </p:nvPicPr>
        <p:blipFill>
          <a:blip r:embed="rId19" cstate="print"/>
          <a:srcRect t="20186" b="12593"/>
          <a:stretch>
            <a:fillRect/>
          </a:stretch>
        </p:blipFill>
        <p:spPr bwMode="auto">
          <a:xfrm>
            <a:off x="755576" y="2636912"/>
            <a:ext cx="904875" cy="460375"/>
          </a:xfrm>
          <a:prstGeom prst="rect">
            <a:avLst/>
          </a:prstGeom>
          <a:noFill/>
          <a:ln w="9525">
            <a:noFill/>
            <a:miter lim="800000"/>
            <a:headEnd/>
            <a:tailEnd/>
          </a:ln>
        </p:spPr>
      </p:pic>
      <p:pic>
        <p:nvPicPr>
          <p:cNvPr id="45076" name="Picture 85"/>
          <p:cNvPicPr>
            <a:picLocks noChangeAspect="1" noChangeArrowheads="1"/>
          </p:cNvPicPr>
          <p:nvPr>
            <p:custDataLst>
              <p:tags r:id="rId3"/>
            </p:custDataLst>
          </p:nvPr>
        </p:nvPicPr>
        <p:blipFill>
          <a:blip r:embed="rId20" cstate="print"/>
          <a:srcRect l="7455" t="11028" r="7079" b="9773"/>
          <a:stretch>
            <a:fillRect/>
          </a:stretch>
        </p:blipFill>
        <p:spPr bwMode="auto">
          <a:xfrm>
            <a:off x="609600" y="3124200"/>
            <a:ext cx="838200" cy="406400"/>
          </a:xfrm>
          <a:prstGeom prst="rect">
            <a:avLst/>
          </a:prstGeom>
          <a:noFill/>
          <a:ln w="6350">
            <a:noFill/>
            <a:miter lim="800000"/>
            <a:headEnd/>
            <a:tailEnd/>
          </a:ln>
        </p:spPr>
      </p:pic>
      <p:pic>
        <p:nvPicPr>
          <p:cNvPr id="45078" name="Picture 36" descr="nissui"/>
          <p:cNvPicPr>
            <a:picLocks noChangeAspect="1" noChangeArrowheads="1"/>
          </p:cNvPicPr>
          <p:nvPr>
            <p:custDataLst>
              <p:tags r:id="rId4"/>
            </p:custDataLst>
          </p:nvPr>
        </p:nvPicPr>
        <p:blipFill>
          <a:blip r:embed="rId21" cstate="print"/>
          <a:srcRect/>
          <a:stretch>
            <a:fillRect/>
          </a:stretch>
        </p:blipFill>
        <p:spPr bwMode="auto">
          <a:xfrm>
            <a:off x="2123728" y="2204864"/>
            <a:ext cx="838200" cy="419100"/>
          </a:xfrm>
          <a:prstGeom prst="rect">
            <a:avLst/>
          </a:prstGeom>
          <a:noFill/>
          <a:ln w="9525">
            <a:noFill/>
            <a:miter lim="800000"/>
            <a:headEnd/>
            <a:tailEnd/>
          </a:ln>
        </p:spPr>
      </p:pic>
      <p:pic>
        <p:nvPicPr>
          <p:cNvPr id="45080" name="Picture 87" descr="coopnorden logo">
            <a:hlinkClick r:id="rId22"/>
          </p:cNvPr>
          <p:cNvPicPr>
            <a:picLocks noChangeAspect="1" noChangeArrowheads="1"/>
          </p:cNvPicPr>
          <p:nvPr>
            <p:custDataLst>
              <p:tags r:id="rId5"/>
            </p:custDataLst>
          </p:nvPr>
        </p:nvPicPr>
        <p:blipFill>
          <a:blip r:embed="rId23" cstate="print"/>
          <a:srcRect/>
          <a:stretch>
            <a:fillRect/>
          </a:stretch>
        </p:blipFill>
        <p:spPr bwMode="auto">
          <a:xfrm>
            <a:off x="611560" y="2276872"/>
            <a:ext cx="981075" cy="361950"/>
          </a:xfrm>
          <a:prstGeom prst="rect">
            <a:avLst/>
          </a:prstGeom>
          <a:noFill/>
          <a:ln w="9525">
            <a:noFill/>
            <a:miter lim="800000"/>
            <a:headEnd/>
            <a:tailEnd/>
          </a:ln>
        </p:spPr>
      </p:pic>
      <p:pic>
        <p:nvPicPr>
          <p:cNvPr id="45081" name="Picture 19"/>
          <p:cNvPicPr>
            <a:picLocks noChangeAspect="1" noChangeArrowheads="1"/>
          </p:cNvPicPr>
          <p:nvPr>
            <p:custDataLst>
              <p:tags r:id="rId6"/>
            </p:custDataLst>
          </p:nvPr>
        </p:nvPicPr>
        <p:blipFill>
          <a:blip r:embed="rId24" cstate="print"/>
          <a:srcRect/>
          <a:stretch>
            <a:fillRect/>
          </a:stretch>
        </p:blipFill>
        <p:spPr bwMode="auto">
          <a:xfrm>
            <a:off x="3308350" y="2290763"/>
            <a:ext cx="806450" cy="223837"/>
          </a:xfrm>
          <a:prstGeom prst="rect">
            <a:avLst/>
          </a:prstGeom>
          <a:noFill/>
          <a:ln w="9525">
            <a:noFill/>
            <a:miter lim="800000"/>
            <a:headEnd/>
            <a:tailEnd/>
          </a:ln>
        </p:spPr>
      </p:pic>
      <p:graphicFrame>
        <p:nvGraphicFramePr>
          <p:cNvPr id="45059" name="Object 3"/>
          <p:cNvGraphicFramePr>
            <a:graphicFrameLocks noChangeAspect="1"/>
          </p:cNvGraphicFramePr>
          <p:nvPr/>
        </p:nvGraphicFramePr>
        <p:xfrm>
          <a:off x="4660900" y="2603500"/>
          <a:ext cx="1046163" cy="252413"/>
        </p:xfrm>
        <a:graphic>
          <a:graphicData uri="http://schemas.openxmlformats.org/presentationml/2006/ole">
            <p:oleObj spid="_x0000_s45059" name="Photo Editor Photo" r:id="rId25" imgW="1495634" imgH="361809" progId="">
              <p:embed/>
            </p:oleObj>
          </a:graphicData>
        </a:graphic>
      </p:graphicFrame>
      <p:pic>
        <p:nvPicPr>
          <p:cNvPr id="45082" name="Picture 35" descr="swoosh"/>
          <p:cNvPicPr>
            <a:picLocks noChangeAspect="1" noChangeArrowheads="1"/>
          </p:cNvPicPr>
          <p:nvPr>
            <p:custDataLst>
              <p:tags r:id="rId7"/>
            </p:custDataLst>
          </p:nvPr>
        </p:nvPicPr>
        <p:blipFill>
          <a:blip r:embed="rId26" cstate="print"/>
          <a:srcRect t="15958" b="11436"/>
          <a:stretch>
            <a:fillRect/>
          </a:stretch>
        </p:blipFill>
        <p:spPr bwMode="auto">
          <a:xfrm>
            <a:off x="3314700" y="2565400"/>
            <a:ext cx="758825" cy="357188"/>
          </a:xfrm>
          <a:prstGeom prst="rect">
            <a:avLst/>
          </a:prstGeom>
          <a:noFill/>
          <a:ln w="9525">
            <a:noFill/>
            <a:miter lim="800000"/>
            <a:headEnd/>
            <a:tailEnd/>
          </a:ln>
        </p:spPr>
      </p:pic>
      <p:pic>
        <p:nvPicPr>
          <p:cNvPr id="45083" name="Picture 39" descr="Walmart - Save Money. Live Better."/>
          <p:cNvPicPr>
            <a:picLocks noChangeAspect="1" noChangeArrowheads="1"/>
          </p:cNvPicPr>
          <p:nvPr>
            <p:custDataLst>
              <p:tags r:id="rId8"/>
            </p:custDataLst>
          </p:nvPr>
        </p:nvPicPr>
        <p:blipFill>
          <a:blip r:embed="rId27" cstate="print">
            <a:clrChange>
              <a:clrFrom>
                <a:srgbClr val="FFFFFF"/>
              </a:clrFrom>
              <a:clrTo>
                <a:srgbClr val="FFFFFF">
                  <a:alpha val="0"/>
                </a:srgbClr>
              </a:clrTo>
            </a:clrChange>
          </a:blip>
          <a:srcRect/>
          <a:stretch>
            <a:fillRect/>
          </a:stretch>
        </p:blipFill>
        <p:spPr bwMode="auto">
          <a:xfrm>
            <a:off x="4800600" y="2209800"/>
            <a:ext cx="981075" cy="419100"/>
          </a:xfrm>
          <a:prstGeom prst="rect">
            <a:avLst/>
          </a:prstGeom>
          <a:noFill/>
          <a:ln w="9525">
            <a:noFill/>
            <a:miter lim="800000"/>
            <a:headEnd/>
            <a:tailEnd/>
          </a:ln>
        </p:spPr>
      </p:pic>
      <p:pic>
        <p:nvPicPr>
          <p:cNvPr id="45084" name="Picture 91" descr="Kingfisher plc"/>
          <p:cNvPicPr>
            <a:picLocks noChangeAspect="1" noChangeArrowheads="1"/>
          </p:cNvPicPr>
          <p:nvPr>
            <p:custDataLst>
              <p:tags r:id="rId9"/>
            </p:custDataLst>
          </p:nvPr>
        </p:nvPicPr>
        <p:blipFill>
          <a:blip r:embed="rId28" cstate="print"/>
          <a:srcRect/>
          <a:stretch>
            <a:fillRect/>
          </a:stretch>
        </p:blipFill>
        <p:spPr bwMode="auto">
          <a:xfrm>
            <a:off x="4267200" y="3352800"/>
            <a:ext cx="1055688" cy="242888"/>
          </a:xfrm>
          <a:prstGeom prst="rect">
            <a:avLst/>
          </a:prstGeom>
          <a:noFill/>
          <a:ln w="9525">
            <a:noFill/>
            <a:miter lim="800000"/>
            <a:headEnd/>
            <a:tailEnd/>
          </a:ln>
        </p:spPr>
      </p:pic>
      <p:pic>
        <p:nvPicPr>
          <p:cNvPr id="45085" name="Picture 91" descr="joblogo">
            <a:hlinkClick r:id="rId29"/>
          </p:cNvPr>
          <p:cNvPicPr>
            <a:picLocks noChangeAspect="1" noChangeArrowheads="1"/>
          </p:cNvPicPr>
          <p:nvPr>
            <p:custDataLst>
              <p:tags r:id="rId10"/>
            </p:custDataLst>
          </p:nvPr>
        </p:nvPicPr>
        <p:blipFill>
          <a:blip r:embed="rId30" cstate="print"/>
          <a:srcRect/>
          <a:stretch>
            <a:fillRect/>
          </a:stretch>
        </p:blipFill>
        <p:spPr bwMode="auto">
          <a:xfrm>
            <a:off x="4702175" y="2936875"/>
            <a:ext cx="936625" cy="339725"/>
          </a:xfrm>
          <a:prstGeom prst="rect">
            <a:avLst/>
          </a:prstGeom>
          <a:noFill/>
          <a:ln w="9525">
            <a:noFill/>
            <a:miter lim="800000"/>
            <a:headEnd/>
            <a:tailEnd/>
          </a:ln>
        </p:spPr>
      </p:pic>
      <p:pic>
        <p:nvPicPr>
          <p:cNvPr id="45086" name="Picture 50" descr="home retail group"/>
          <p:cNvPicPr>
            <a:picLocks noChangeAspect="1" noChangeArrowheads="1"/>
          </p:cNvPicPr>
          <p:nvPr/>
        </p:nvPicPr>
        <p:blipFill>
          <a:blip r:embed="rId31" cstate="print">
            <a:clrChange>
              <a:clrFrom>
                <a:srgbClr val="FFFFFF"/>
              </a:clrFrom>
              <a:clrTo>
                <a:srgbClr val="FFFFFF">
                  <a:alpha val="0"/>
                </a:srgbClr>
              </a:clrTo>
            </a:clrChange>
          </a:blip>
          <a:srcRect/>
          <a:stretch>
            <a:fillRect/>
          </a:stretch>
        </p:blipFill>
        <p:spPr bwMode="auto">
          <a:xfrm>
            <a:off x="4146550" y="2209800"/>
            <a:ext cx="658813" cy="606425"/>
          </a:xfrm>
          <a:prstGeom prst="rect">
            <a:avLst/>
          </a:prstGeom>
          <a:noFill/>
          <a:ln w="9525">
            <a:noFill/>
            <a:miter lim="800000"/>
            <a:headEnd/>
            <a:tailEnd/>
          </a:ln>
        </p:spPr>
      </p:pic>
      <p:pic>
        <p:nvPicPr>
          <p:cNvPr id="45087" name="Picture 51"/>
          <p:cNvPicPr>
            <a:picLocks noChangeAspect="1" noChangeArrowheads="1"/>
          </p:cNvPicPr>
          <p:nvPr/>
        </p:nvPicPr>
        <p:blipFill>
          <a:blip r:embed="rId32" cstate="print">
            <a:clrChange>
              <a:clrFrom>
                <a:srgbClr val="619CF8"/>
              </a:clrFrom>
              <a:clrTo>
                <a:srgbClr val="619CF8">
                  <a:alpha val="0"/>
                </a:srgbClr>
              </a:clrTo>
            </a:clrChange>
          </a:blip>
          <a:srcRect t="16162"/>
          <a:stretch>
            <a:fillRect/>
          </a:stretch>
        </p:blipFill>
        <p:spPr bwMode="auto">
          <a:xfrm>
            <a:off x="3575050" y="2819400"/>
            <a:ext cx="1016000" cy="322263"/>
          </a:xfrm>
          <a:prstGeom prst="rect">
            <a:avLst/>
          </a:prstGeom>
          <a:noFill/>
          <a:ln w="9525">
            <a:noFill/>
            <a:miter lim="800000"/>
            <a:headEnd/>
            <a:tailEnd/>
          </a:ln>
        </p:spPr>
      </p:pic>
      <p:pic>
        <p:nvPicPr>
          <p:cNvPr id="45088" name="Picture 53" descr="sears_arc_logo_only_jpeg"/>
          <p:cNvPicPr>
            <a:picLocks noChangeAspect="1" noChangeArrowheads="1"/>
          </p:cNvPicPr>
          <p:nvPr/>
        </p:nvPicPr>
        <p:blipFill>
          <a:blip r:embed="rId33" cstate="print"/>
          <a:srcRect/>
          <a:stretch>
            <a:fillRect/>
          </a:stretch>
        </p:blipFill>
        <p:spPr bwMode="auto">
          <a:xfrm>
            <a:off x="3352800" y="3213100"/>
            <a:ext cx="673100" cy="304800"/>
          </a:xfrm>
          <a:prstGeom prst="rect">
            <a:avLst/>
          </a:prstGeom>
          <a:noFill/>
          <a:ln w="9525">
            <a:noFill/>
            <a:miter lim="800000"/>
            <a:headEnd/>
            <a:tailEnd/>
          </a:ln>
        </p:spPr>
      </p:pic>
      <p:pic>
        <p:nvPicPr>
          <p:cNvPr id="45089" name="Picture 28" descr="Electrolux"/>
          <p:cNvPicPr>
            <a:picLocks noChangeAspect="1" noChangeArrowheads="1"/>
          </p:cNvPicPr>
          <p:nvPr>
            <p:custDataLst>
              <p:tags r:id="rId11"/>
            </p:custDataLst>
          </p:nvPr>
        </p:nvPicPr>
        <p:blipFill>
          <a:blip r:embed="rId34" cstate="print"/>
          <a:srcRect/>
          <a:stretch>
            <a:fillRect/>
          </a:stretch>
        </p:blipFill>
        <p:spPr bwMode="auto">
          <a:xfrm>
            <a:off x="6172200" y="2263775"/>
            <a:ext cx="1373188" cy="250825"/>
          </a:xfrm>
          <a:prstGeom prst="rect">
            <a:avLst/>
          </a:prstGeom>
          <a:noFill/>
          <a:ln w="9525">
            <a:noFill/>
            <a:miter lim="800000"/>
            <a:headEnd/>
            <a:tailEnd/>
          </a:ln>
        </p:spPr>
      </p:pic>
      <p:graphicFrame>
        <p:nvGraphicFramePr>
          <p:cNvPr id="45060" name="Object 4"/>
          <p:cNvGraphicFramePr>
            <a:graphicFrameLocks noChangeAspect="1"/>
          </p:cNvGraphicFramePr>
          <p:nvPr/>
        </p:nvGraphicFramePr>
        <p:xfrm>
          <a:off x="6172200" y="2590800"/>
          <a:ext cx="1069975" cy="390525"/>
        </p:xfrm>
        <a:graphic>
          <a:graphicData uri="http://schemas.openxmlformats.org/presentationml/2006/ole">
            <p:oleObj spid="_x0000_s45060" name="Photo Editor Photo" r:id="rId35" imgW="1257476" imgH="542857" progId="">
              <p:embed/>
            </p:oleObj>
          </a:graphicData>
        </a:graphic>
      </p:graphicFrame>
      <p:pic>
        <p:nvPicPr>
          <p:cNvPr id="45090" name="Picture 97" descr="dyson_logo2">
            <a:hlinkClick r:id="rId36"/>
          </p:cNvPr>
          <p:cNvPicPr>
            <a:picLocks noChangeAspect="1" noChangeArrowheads="1"/>
          </p:cNvPicPr>
          <p:nvPr>
            <p:custDataLst>
              <p:tags r:id="rId12"/>
            </p:custDataLst>
          </p:nvPr>
        </p:nvPicPr>
        <p:blipFill>
          <a:blip r:embed="rId37" cstate="print"/>
          <a:srcRect/>
          <a:stretch>
            <a:fillRect/>
          </a:stretch>
        </p:blipFill>
        <p:spPr bwMode="auto">
          <a:xfrm>
            <a:off x="7315200" y="2743200"/>
            <a:ext cx="814388" cy="338138"/>
          </a:xfrm>
          <a:prstGeom prst="rect">
            <a:avLst/>
          </a:prstGeom>
          <a:noFill/>
          <a:ln w="9525">
            <a:noFill/>
            <a:miter lim="800000"/>
            <a:headEnd/>
            <a:tailEnd/>
          </a:ln>
        </p:spPr>
      </p:pic>
      <p:pic>
        <p:nvPicPr>
          <p:cNvPr id="45091" name="Picture 54"/>
          <p:cNvPicPr>
            <a:picLocks noChangeAspect="1" noChangeArrowheads="1"/>
          </p:cNvPicPr>
          <p:nvPr/>
        </p:nvPicPr>
        <p:blipFill>
          <a:blip r:embed="rId38" cstate="print"/>
          <a:srcRect/>
          <a:stretch>
            <a:fillRect/>
          </a:stretch>
        </p:blipFill>
        <p:spPr bwMode="auto">
          <a:xfrm>
            <a:off x="7604125" y="2286000"/>
            <a:ext cx="1006475" cy="465138"/>
          </a:xfrm>
          <a:prstGeom prst="rect">
            <a:avLst/>
          </a:prstGeom>
          <a:noFill/>
          <a:ln w="9525">
            <a:noFill/>
            <a:miter lim="800000"/>
            <a:headEnd/>
            <a:tailEnd/>
          </a:ln>
        </p:spPr>
      </p:pic>
      <p:pic>
        <p:nvPicPr>
          <p:cNvPr id="45092" name="Picture 67" descr="Cosco Juvenile">
            <a:hlinkClick r:id="rId39"/>
          </p:cNvPr>
          <p:cNvPicPr>
            <a:picLocks noChangeAspect="1" noChangeArrowheads="1"/>
          </p:cNvPicPr>
          <p:nvPr/>
        </p:nvPicPr>
        <p:blipFill>
          <a:blip r:embed="rId40" cstate="print"/>
          <a:srcRect r="8421" b="11864"/>
          <a:stretch>
            <a:fillRect/>
          </a:stretch>
        </p:blipFill>
        <p:spPr bwMode="auto">
          <a:xfrm>
            <a:off x="6148388" y="3048000"/>
            <a:ext cx="1243012" cy="577850"/>
          </a:xfrm>
          <a:prstGeom prst="rect">
            <a:avLst/>
          </a:prstGeom>
          <a:noFill/>
          <a:ln w="9525">
            <a:noFill/>
            <a:miter lim="800000"/>
            <a:headEnd/>
            <a:tailEnd/>
          </a:ln>
        </p:spPr>
      </p:pic>
      <p:pic>
        <p:nvPicPr>
          <p:cNvPr id="45093" name="Picture 101"/>
          <p:cNvPicPr>
            <a:picLocks noChangeAspect="1"/>
          </p:cNvPicPr>
          <p:nvPr/>
        </p:nvPicPr>
        <p:blipFill>
          <a:blip r:embed="rId41" cstate="print"/>
          <a:srcRect/>
          <a:stretch>
            <a:fillRect/>
          </a:stretch>
        </p:blipFill>
        <p:spPr bwMode="auto">
          <a:xfrm>
            <a:off x="7848600" y="3124200"/>
            <a:ext cx="552450" cy="412750"/>
          </a:xfrm>
          <a:prstGeom prst="rect">
            <a:avLst/>
          </a:prstGeom>
          <a:noFill/>
          <a:ln w="9525">
            <a:noFill/>
            <a:miter lim="800000"/>
            <a:headEnd/>
            <a:tailEnd/>
          </a:ln>
        </p:spPr>
      </p:pic>
      <p:pic>
        <p:nvPicPr>
          <p:cNvPr id="45094" name="Picture 53" descr="boeing_Logo_L">
            <a:hlinkClick r:id="rId42"/>
          </p:cNvPr>
          <p:cNvPicPr>
            <a:picLocks noChangeAspect="1" noChangeArrowheads="1"/>
          </p:cNvPicPr>
          <p:nvPr/>
        </p:nvPicPr>
        <p:blipFill>
          <a:blip r:embed="rId43" cstate="print"/>
          <a:srcRect/>
          <a:stretch>
            <a:fillRect/>
          </a:stretch>
        </p:blipFill>
        <p:spPr bwMode="auto">
          <a:xfrm>
            <a:off x="1447800" y="4381500"/>
            <a:ext cx="1428750" cy="342900"/>
          </a:xfrm>
          <a:prstGeom prst="rect">
            <a:avLst/>
          </a:prstGeom>
          <a:noFill/>
          <a:ln w="9525">
            <a:noFill/>
            <a:miter lim="800000"/>
            <a:headEnd/>
            <a:tailEnd/>
          </a:ln>
        </p:spPr>
      </p:pic>
      <p:pic>
        <p:nvPicPr>
          <p:cNvPr id="45095" name="Picture 55" descr="mil_US_Army">
            <a:hlinkClick r:id="rId44"/>
          </p:cNvPr>
          <p:cNvPicPr>
            <a:picLocks noChangeAspect="1" noChangeArrowheads="1"/>
          </p:cNvPicPr>
          <p:nvPr/>
        </p:nvPicPr>
        <p:blipFill>
          <a:blip r:embed="rId45" cstate="print"/>
          <a:srcRect/>
          <a:stretch>
            <a:fillRect/>
          </a:stretch>
        </p:blipFill>
        <p:spPr bwMode="auto">
          <a:xfrm>
            <a:off x="571500" y="4572000"/>
            <a:ext cx="838200" cy="838200"/>
          </a:xfrm>
          <a:prstGeom prst="rect">
            <a:avLst/>
          </a:prstGeom>
          <a:noFill/>
          <a:ln w="9525">
            <a:noFill/>
            <a:miter lim="800000"/>
            <a:headEnd/>
            <a:tailEnd/>
          </a:ln>
        </p:spPr>
      </p:pic>
      <p:pic>
        <p:nvPicPr>
          <p:cNvPr id="45096" name="Picture 65" descr="LockheedMartinLogo">
            <a:hlinkClick r:id="rId46"/>
          </p:cNvPr>
          <p:cNvPicPr>
            <a:picLocks noChangeAspect="1" noChangeArrowheads="1"/>
          </p:cNvPicPr>
          <p:nvPr/>
        </p:nvPicPr>
        <p:blipFill>
          <a:blip r:embed="rId47" cstate="print"/>
          <a:srcRect/>
          <a:stretch>
            <a:fillRect/>
          </a:stretch>
        </p:blipFill>
        <p:spPr bwMode="auto">
          <a:xfrm>
            <a:off x="1460500" y="5181600"/>
            <a:ext cx="1471613" cy="409575"/>
          </a:xfrm>
          <a:prstGeom prst="rect">
            <a:avLst/>
          </a:prstGeom>
          <a:noFill/>
          <a:ln w="9525">
            <a:noFill/>
            <a:miter lim="800000"/>
            <a:headEnd/>
            <a:tailEnd/>
          </a:ln>
        </p:spPr>
      </p:pic>
      <p:pic>
        <p:nvPicPr>
          <p:cNvPr id="45097" name="Picture 51" descr="about_sasol">
            <a:hlinkClick r:id="rId48"/>
          </p:cNvPr>
          <p:cNvPicPr>
            <a:picLocks noChangeAspect="1" noChangeArrowheads="1"/>
          </p:cNvPicPr>
          <p:nvPr/>
        </p:nvPicPr>
        <p:blipFill>
          <a:blip r:embed="rId49" cstate="print"/>
          <a:srcRect/>
          <a:stretch>
            <a:fillRect/>
          </a:stretch>
        </p:blipFill>
        <p:spPr bwMode="auto">
          <a:xfrm>
            <a:off x="3352800" y="4298950"/>
            <a:ext cx="536575" cy="847725"/>
          </a:xfrm>
          <a:prstGeom prst="rect">
            <a:avLst/>
          </a:prstGeom>
          <a:noFill/>
          <a:ln w="9525">
            <a:noFill/>
            <a:miter lim="800000"/>
            <a:headEnd/>
            <a:tailEnd/>
          </a:ln>
        </p:spPr>
      </p:pic>
      <p:pic>
        <p:nvPicPr>
          <p:cNvPr id="45098" name="Picture 59" descr="Borouge_logo">
            <a:hlinkClick r:id="rId50"/>
          </p:cNvPr>
          <p:cNvPicPr>
            <a:picLocks noChangeAspect="1" noChangeArrowheads="1"/>
          </p:cNvPicPr>
          <p:nvPr/>
        </p:nvPicPr>
        <p:blipFill>
          <a:blip r:embed="rId51" cstate="print"/>
          <a:srcRect/>
          <a:stretch>
            <a:fillRect/>
          </a:stretch>
        </p:blipFill>
        <p:spPr bwMode="auto">
          <a:xfrm>
            <a:off x="4083050" y="4362450"/>
            <a:ext cx="981075" cy="438150"/>
          </a:xfrm>
          <a:prstGeom prst="rect">
            <a:avLst/>
          </a:prstGeom>
          <a:noFill/>
          <a:ln w="9525">
            <a:noFill/>
            <a:miter lim="800000"/>
            <a:headEnd/>
            <a:tailEnd/>
          </a:ln>
        </p:spPr>
      </p:pic>
      <p:pic>
        <p:nvPicPr>
          <p:cNvPr id="45099" name="Picture 61" descr="DOW%2520CHEMICAL%2520LOGO%2520-01">
            <a:hlinkClick r:id="rId52"/>
          </p:cNvPr>
          <p:cNvPicPr>
            <a:picLocks noChangeAspect="1" noChangeArrowheads="1"/>
          </p:cNvPicPr>
          <p:nvPr/>
        </p:nvPicPr>
        <p:blipFill>
          <a:blip r:embed="rId53" cstate="print"/>
          <a:srcRect/>
          <a:stretch>
            <a:fillRect/>
          </a:stretch>
        </p:blipFill>
        <p:spPr bwMode="auto">
          <a:xfrm>
            <a:off x="3514725" y="5257800"/>
            <a:ext cx="1136650" cy="439738"/>
          </a:xfrm>
          <a:prstGeom prst="rect">
            <a:avLst/>
          </a:prstGeom>
          <a:noFill/>
          <a:ln w="9525">
            <a:noFill/>
            <a:miter lim="800000"/>
            <a:headEnd/>
            <a:tailEnd/>
          </a:ln>
        </p:spPr>
      </p:pic>
      <p:pic>
        <p:nvPicPr>
          <p:cNvPr id="45100" name="Picture 67" descr="28427-hi-sabic_logo_rgb">
            <a:hlinkClick r:id="rId54"/>
          </p:cNvPr>
          <p:cNvPicPr>
            <a:picLocks noChangeAspect="1" noChangeArrowheads="1"/>
          </p:cNvPicPr>
          <p:nvPr/>
        </p:nvPicPr>
        <p:blipFill>
          <a:blip r:embed="rId55" cstate="print"/>
          <a:srcRect/>
          <a:stretch>
            <a:fillRect/>
          </a:stretch>
        </p:blipFill>
        <p:spPr bwMode="auto">
          <a:xfrm>
            <a:off x="4572000" y="4953000"/>
            <a:ext cx="1136650" cy="574675"/>
          </a:xfrm>
          <a:prstGeom prst="rect">
            <a:avLst/>
          </a:prstGeom>
          <a:noFill/>
          <a:ln w="9525">
            <a:noFill/>
            <a:miter lim="800000"/>
            <a:headEnd/>
            <a:tailEnd/>
          </a:ln>
        </p:spPr>
      </p:pic>
      <p:pic>
        <p:nvPicPr>
          <p:cNvPr id="45101" name="Picture 26"/>
          <p:cNvPicPr>
            <a:picLocks noChangeAspect="1" noChangeArrowheads="1"/>
          </p:cNvPicPr>
          <p:nvPr/>
        </p:nvPicPr>
        <p:blipFill>
          <a:blip r:embed="rId56" cstate="print"/>
          <a:srcRect/>
          <a:stretch>
            <a:fillRect/>
          </a:stretch>
        </p:blipFill>
        <p:spPr bwMode="auto">
          <a:xfrm>
            <a:off x="5257800" y="4298950"/>
            <a:ext cx="447675" cy="411163"/>
          </a:xfrm>
          <a:prstGeom prst="rect">
            <a:avLst/>
          </a:prstGeom>
          <a:noFill/>
          <a:ln w="9525">
            <a:noFill/>
            <a:miter lim="800000"/>
            <a:headEnd/>
            <a:tailEnd/>
          </a:ln>
        </p:spPr>
      </p:pic>
      <p:pic>
        <p:nvPicPr>
          <p:cNvPr id="45102" name="Picture 57" descr="wfp_logo">
            <a:hlinkClick r:id="rId57"/>
          </p:cNvPr>
          <p:cNvPicPr>
            <a:picLocks noChangeAspect="1" noChangeArrowheads="1"/>
          </p:cNvPicPr>
          <p:nvPr/>
        </p:nvPicPr>
        <p:blipFill>
          <a:blip r:embed="rId58" cstate="print"/>
          <a:srcRect/>
          <a:stretch>
            <a:fillRect/>
          </a:stretch>
        </p:blipFill>
        <p:spPr bwMode="auto">
          <a:xfrm>
            <a:off x="6781800" y="4648200"/>
            <a:ext cx="1190625" cy="571500"/>
          </a:xfrm>
          <a:prstGeom prst="rect">
            <a:avLst/>
          </a:prstGeom>
          <a:noFill/>
          <a:ln w="9525">
            <a:noFill/>
            <a:miter lim="800000"/>
            <a:headEnd/>
            <a:tailEnd/>
          </a:ln>
        </p:spPr>
      </p:pic>
      <p:pic>
        <p:nvPicPr>
          <p:cNvPr id="45103" name="Picture 19"/>
          <p:cNvPicPr>
            <a:picLocks noChangeAspect="1" noChangeArrowheads="1"/>
          </p:cNvPicPr>
          <p:nvPr>
            <p:custDataLst>
              <p:tags r:id="rId13"/>
            </p:custDataLst>
          </p:nvPr>
        </p:nvPicPr>
        <p:blipFill>
          <a:blip r:embed="rId24" cstate="print"/>
          <a:srcRect/>
          <a:stretch>
            <a:fillRect/>
          </a:stretch>
        </p:blipFill>
        <p:spPr bwMode="auto">
          <a:xfrm>
            <a:off x="1619250" y="3349625"/>
            <a:ext cx="806450" cy="223838"/>
          </a:xfrm>
          <a:prstGeom prst="rect">
            <a:avLst/>
          </a:prstGeom>
          <a:noFill/>
          <a:ln w="9525">
            <a:noFill/>
            <a:miter lim="800000"/>
            <a:headEnd/>
            <a:tailEnd/>
          </a:ln>
        </p:spPr>
      </p:pic>
      <p:pic>
        <p:nvPicPr>
          <p:cNvPr id="45105" name="Picture 39" descr="Walmart - Save Money. Live Better."/>
          <p:cNvPicPr>
            <a:picLocks noChangeAspect="1" noChangeArrowheads="1"/>
          </p:cNvPicPr>
          <p:nvPr>
            <p:custDataLst>
              <p:tags r:id="rId14"/>
            </p:custDataLst>
          </p:nvPr>
        </p:nvPicPr>
        <p:blipFill>
          <a:blip r:embed="rId27" cstate="print">
            <a:clrChange>
              <a:clrFrom>
                <a:srgbClr val="FFFFFF"/>
              </a:clrFrom>
              <a:clrTo>
                <a:srgbClr val="FFFFFF">
                  <a:alpha val="0"/>
                </a:srgbClr>
              </a:clrTo>
            </a:clrChange>
          </a:blip>
          <a:srcRect/>
          <a:stretch>
            <a:fillRect/>
          </a:stretch>
        </p:blipFill>
        <p:spPr bwMode="auto">
          <a:xfrm>
            <a:off x="1979712" y="2636912"/>
            <a:ext cx="981075" cy="419100"/>
          </a:xfrm>
          <a:prstGeom prst="rect">
            <a:avLst/>
          </a:prstGeom>
          <a:noFill/>
          <a:ln w="9525">
            <a:noFill/>
            <a:miter lim="800000"/>
            <a:headEnd/>
            <a:tailEnd/>
          </a:ln>
        </p:spPr>
      </p:pic>
      <p:pic>
        <p:nvPicPr>
          <p:cNvPr id="45107" name="Picture 51" descr="Picture1"/>
          <p:cNvPicPr>
            <a:picLocks noChangeAspect="1" noChangeArrowheads="1"/>
          </p:cNvPicPr>
          <p:nvPr/>
        </p:nvPicPr>
        <p:blipFill>
          <a:blip r:embed="rId59" cstate="print"/>
          <a:srcRect/>
          <a:stretch>
            <a:fillRect/>
          </a:stretch>
        </p:blipFill>
        <p:spPr bwMode="auto">
          <a:xfrm>
            <a:off x="2555875" y="3328988"/>
            <a:ext cx="354013" cy="244475"/>
          </a:xfrm>
          <a:prstGeom prst="rect">
            <a:avLst/>
          </a:prstGeom>
          <a:noFill/>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Rounded Rectangle 38"/>
          <p:cNvSpPr>
            <a:spLocks noChangeArrowheads="1"/>
          </p:cNvSpPr>
          <p:nvPr/>
        </p:nvSpPr>
        <p:spPr bwMode="auto">
          <a:xfrm>
            <a:off x="4645025" y="1371600"/>
            <a:ext cx="4130675" cy="3560763"/>
          </a:xfrm>
          <a:prstGeom prst="roundRect">
            <a:avLst>
              <a:gd name="adj" fmla="val 4472"/>
            </a:avLst>
          </a:prstGeom>
          <a:noFill/>
          <a:ln w="6350" algn="ctr">
            <a:solidFill>
              <a:schemeClr val="bg1">
                <a:lumMod val="85000"/>
              </a:schemeClr>
            </a:solidFill>
            <a:round/>
            <a:headEnd/>
            <a:tailEnd/>
          </a:ln>
        </p:spPr>
        <p:txBody>
          <a:bodyPr lIns="81648" tIns="42457" rIns="81648" bIns="42457" anchor="ctr"/>
          <a:lstStyle/>
          <a:p>
            <a:pPr marL="341313" indent="-341313" defTabSz="830263" eaLnBrk="0" hangingPunct="0">
              <a:spcBef>
                <a:spcPct val="50000"/>
              </a:spcBef>
              <a:spcAft>
                <a:spcPts val="1200"/>
              </a:spcAft>
              <a:buClr>
                <a:srgbClr val="FFFFFF"/>
              </a:buClr>
            </a:pPr>
            <a:endParaRPr lang="en-GB" sz="1100">
              <a:solidFill>
                <a:srgbClr val="FFFFFF"/>
              </a:solidFill>
              <a:latin typeface="Verdana" pitchFamily="34" charset="0"/>
              <a:ea typeface="ＭＳ Ｐゴシック" pitchFamily="34" charset="-128"/>
            </a:endParaRPr>
          </a:p>
        </p:txBody>
      </p:sp>
      <p:sp>
        <p:nvSpPr>
          <p:cNvPr id="7" name="Rounded Rectangle 38"/>
          <p:cNvSpPr>
            <a:spLocks noChangeArrowheads="1"/>
          </p:cNvSpPr>
          <p:nvPr/>
        </p:nvSpPr>
        <p:spPr bwMode="auto">
          <a:xfrm>
            <a:off x="434975" y="1385888"/>
            <a:ext cx="4046538" cy="3546475"/>
          </a:xfrm>
          <a:prstGeom prst="roundRect">
            <a:avLst>
              <a:gd name="adj" fmla="val 4472"/>
            </a:avLst>
          </a:prstGeom>
          <a:noFill/>
          <a:ln w="6350" algn="ctr">
            <a:solidFill>
              <a:schemeClr val="bg1">
                <a:lumMod val="85000"/>
              </a:schemeClr>
            </a:solidFill>
            <a:round/>
            <a:headEnd/>
            <a:tailEnd/>
          </a:ln>
        </p:spPr>
        <p:txBody>
          <a:bodyPr lIns="81648" tIns="42457" rIns="81648" bIns="42457" anchor="ctr"/>
          <a:lstStyle/>
          <a:p>
            <a:pPr algn="ctr" defTabSz="830263" eaLnBrk="0" hangingPunct="0">
              <a:spcBef>
                <a:spcPts val="1088"/>
              </a:spcBef>
              <a:spcAft>
                <a:spcPts val="1088"/>
              </a:spcAft>
            </a:pPr>
            <a:endParaRPr lang="en-GB" sz="1100" b="1">
              <a:solidFill>
                <a:srgbClr val="00215B"/>
              </a:solidFill>
              <a:latin typeface="Verdana" pitchFamily="34" charset="0"/>
              <a:ea typeface="ＭＳ Ｐゴシック" pitchFamily="34" charset="-128"/>
            </a:endParaRPr>
          </a:p>
        </p:txBody>
      </p:sp>
      <p:pic>
        <p:nvPicPr>
          <p:cNvPr id="47108" name="Picture 24" descr="evergreen.png"/>
          <p:cNvPicPr>
            <a:picLocks noChangeAspect="1"/>
          </p:cNvPicPr>
          <p:nvPr/>
        </p:nvPicPr>
        <p:blipFill>
          <a:blip r:embed="rId3" cstate="print">
            <a:clrChange>
              <a:clrFrom>
                <a:srgbClr val="F4FCE8"/>
              </a:clrFrom>
              <a:clrTo>
                <a:srgbClr val="F4FCE8">
                  <a:alpha val="0"/>
                </a:srgbClr>
              </a:clrTo>
            </a:clrChange>
          </a:blip>
          <a:srcRect/>
          <a:stretch>
            <a:fillRect/>
          </a:stretch>
        </p:blipFill>
        <p:spPr bwMode="auto">
          <a:xfrm>
            <a:off x="701675" y="2227263"/>
            <a:ext cx="2955925" cy="393700"/>
          </a:xfrm>
          <a:prstGeom prst="rect">
            <a:avLst/>
          </a:prstGeom>
          <a:noFill/>
          <a:ln w="9525">
            <a:noFill/>
            <a:miter lim="800000"/>
            <a:headEnd/>
            <a:tailEnd/>
          </a:ln>
        </p:spPr>
      </p:pic>
      <p:pic>
        <p:nvPicPr>
          <p:cNvPr id="47109" name="Picture 31"/>
          <p:cNvPicPr>
            <a:picLocks noChangeAspect="1"/>
          </p:cNvPicPr>
          <p:nvPr/>
        </p:nvPicPr>
        <p:blipFill>
          <a:blip r:embed="rId4" cstate="print"/>
          <a:srcRect r="76599"/>
          <a:stretch>
            <a:fillRect/>
          </a:stretch>
        </p:blipFill>
        <p:spPr bwMode="auto">
          <a:xfrm>
            <a:off x="3408363" y="4011613"/>
            <a:ext cx="622300" cy="644525"/>
          </a:xfrm>
          <a:prstGeom prst="rect">
            <a:avLst/>
          </a:prstGeom>
          <a:noFill/>
          <a:ln w="9525">
            <a:noFill/>
            <a:miter lim="800000"/>
            <a:headEnd/>
            <a:tailEnd/>
          </a:ln>
        </p:spPr>
      </p:pic>
      <p:pic>
        <p:nvPicPr>
          <p:cNvPr id="47110" name="Picture 34" descr="NYK_Line.png"/>
          <p:cNvPicPr>
            <a:picLocks noChangeAspect="1"/>
          </p:cNvPicPr>
          <p:nvPr/>
        </p:nvPicPr>
        <p:blipFill>
          <a:blip r:embed="rId5" cstate="print"/>
          <a:srcRect t="36525" b="37044"/>
          <a:stretch>
            <a:fillRect/>
          </a:stretch>
        </p:blipFill>
        <p:spPr bwMode="auto">
          <a:xfrm>
            <a:off x="2436813" y="2771775"/>
            <a:ext cx="1778000" cy="469900"/>
          </a:xfrm>
          <a:prstGeom prst="rect">
            <a:avLst/>
          </a:prstGeom>
          <a:noFill/>
          <a:ln w="9525">
            <a:noFill/>
            <a:miter lim="800000"/>
            <a:headEnd/>
            <a:tailEnd/>
          </a:ln>
        </p:spPr>
      </p:pic>
      <p:pic>
        <p:nvPicPr>
          <p:cNvPr id="47111" name="Picture 36" descr="Lufthansa_Cargo.png"/>
          <p:cNvPicPr>
            <a:picLocks noChangeAspect="1"/>
          </p:cNvPicPr>
          <p:nvPr/>
        </p:nvPicPr>
        <p:blipFill>
          <a:blip r:embed="rId6" cstate="print"/>
          <a:srcRect t="40154" b="39635"/>
          <a:stretch>
            <a:fillRect/>
          </a:stretch>
        </p:blipFill>
        <p:spPr bwMode="auto">
          <a:xfrm>
            <a:off x="4859338" y="2451100"/>
            <a:ext cx="2062162" cy="415925"/>
          </a:xfrm>
          <a:prstGeom prst="rect">
            <a:avLst/>
          </a:prstGeom>
          <a:noFill/>
          <a:ln w="9525">
            <a:noFill/>
            <a:miter lim="800000"/>
            <a:headEnd/>
            <a:tailEnd/>
          </a:ln>
        </p:spPr>
      </p:pic>
      <p:pic>
        <p:nvPicPr>
          <p:cNvPr id="47112" name="Picture 37" descr="Etihad_Airways.png"/>
          <p:cNvPicPr>
            <a:picLocks noChangeAspect="1"/>
          </p:cNvPicPr>
          <p:nvPr/>
        </p:nvPicPr>
        <p:blipFill>
          <a:blip r:embed="rId7" cstate="print"/>
          <a:srcRect b="19769"/>
          <a:stretch>
            <a:fillRect/>
          </a:stretch>
        </p:blipFill>
        <p:spPr bwMode="auto">
          <a:xfrm>
            <a:off x="7123113" y="2757488"/>
            <a:ext cx="1384300" cy="615950"/>
          </a:xfrm>
          <a:prstGeom prst="rect">
            <a:avLst/>
          </a:prstGeom>
          <a:noFill/>
          <a:ln w="9525">
            <a:noFill/>
            <a:miter lim="800000"/>
            <a:headEnd/>
            <a:tailEnd/>
          </a:ln>
        </p:spPr>
      </p:pic>
      <p:pic>
        <p:nvPicPr>
          <p:cNvPr id="47113" name="Picture 38" descr="Cathay_Pacific_english [Converted].png"/>
          <p:cNvPicPr>
            <a:picLocks noChangeAspect="1"/>
          </p:cNvPicPr>
          <p:nvPr/>
        </p:nvPicPr>
        <p:blipFill>
          <a:blip r:embed="rId8" cstate="print"/>
          <a:srcRect/>
          <a:stretch>
            <a:fillRect/>
          </a:stretch>
        </p:blipFill>
        <p:spPr bwMode="auto">
          <a:xfrm>
            <a:off x="6864350" y="3600450"/>
            <a:ext cx="1747838" cy="604838"/>
          </a:xfrm>
          <a:prstGeom prst="rect">
            <a:avLst/>
          </a:prstGeom>
          <a:noFill/>
          <a:ln w="9525">
            <a:noFill/>
            <a:miter lim="800000"/>
            <a:headEnd/>
            <a:tailEnd/>
          </a:ln>
        </p:spPr>
      </p:pic>
      <p:pic>
        <p:nvPicPr>
          <p:cNvPr id="47114" name="Picture 39"/>
          <p:cNvPicPr>
            <a:picLocks noChangeAspect="1"/>
          </p:cNvPicPr>
          <p:nvPr/>
        </p:nvPicPr>
        <p:blipFill>
          <a:blip r:embed="rId9" cstate="print"/>
          <a:srcRect t="21852" r="79205" b="17407"/>
          <a:stretch>
            <a:fillRect/>
          </a:stretch>
        </p:blipFill>
        <p:spPr bwMode="auto">
          <a:xfrm>
            <a:off x="4913313" y="4049713"/>
            <a:ext cx="1524000" cy="684212"/>
          </a:xfrm>
          <a:prstGeom prst="rect">
            <a:avLst/>
          </a:prstGeom>
          <a:noFill/>
          <a:ln w="9525">
            <a:noFill/>
            <a:miter lim="800000"/>
            <a:headEnd/>
            <a:tailEnd/>
          </a:ln>
        </p:spPr>
      </p:pic>
      <p:pic>
        <p:nvPicPr>
          <p:cNvPr id="47115" name="Picture 40" descr="quatar.png"/>
          <p:cNvPicPr>
            <a:picLocks noChangeAspect="1"/>
          </p:cNvPicPr>
          <p:nvPr/>
        </p:nvPicPr>
        <p:blipFill>
          <a:blip r:embed="rId10" cstate="print"/>
          <a:srcRect/>
          <a:stretch>
            <a:fillRect/>
          </a:stretch>
        </p:blipFill>
        <p:spPr bwMode="auto">
          <a:xfrm>
            <a:off x="5797550" y="2889250"/>
            <a:ext cx="1314450" cy="481013"/>
          </a:xfrm>
          <a:prstGeom prst="rect">
            <a:avLst/>
          </a:prstGeom>
          <a:noFill/>
          <a:ln w="9525">
            <a:noFill/>
            <a:miter lim="800000"/>
            <a:headEnd/>
            <a:tailEnd/>
          </a:ln>
        </p:spPr>
      </p:pic>
      <p:pic>
        <p:nvPicPr>
          <p:cNvPr id="47116" name="Picture 41" descr="SAS.png"/>
          <p:cNvPicPr>
            <a:picLocks noChangeAspect="1"/>
          </p:cNvPicPr>
          <p:nvPr/>
        </p:nvPicPr>
        <p:blipFill>
          <a:blip r:embed="rId11" cstate="print"/>
          <a:srcRect l="12685" t="11130" r="12685" b="18385"/>
          <a:stretch>
            <a:fillRect/>
          </a:stretch>
        </p:blipFill>
        <p:spPr bwMode="auto">
          <a:xfrm>
            <a:off x="4846638" y="3140075"/>
            <a:ext cx="839787" cy="792163"/>
          </a:xfrm>
          <a:prstGeom prst="rect">
            <a:avLst/>
          </a:prstGeom>
          <a:noFill/>
          <a:ln w="9525">
            <a:noFill/>
            <a:miter lim="800000"/>
            <a:headEnd/>
            <a:tailEnd/>
          </a:ln>
        </p:spPr>
      </p:pic>
      <p:pic>
        <p:nvPicPr>
          <p:cNvPr id="47117" name="Picture 42"/>
          <p:cNvPicPr>
            <a:picLocks noChangeAspect="1"/>
          </p:cNvPicPr>
          <p:nvPr/>
        </p:nvPicPr>
        <p:blipFill>
          <a:blip r:embed="rId12" cstate="print"/>
          <a:srcRect/>
          <a:stretch>
            <a:fillRect/>
          </a:stretch>
        </p:blipFill>
        <p:spPr bwMode="auto">
          <a:xfrm>
            <a:off x="6724650" y="4456113"/>
            <a:ext cx="1847850" cy="252412"/>
          </a:xfrm>
          <a:prstGeom prst="rect">
            <a:avLst/>
          </a:prstGeom>
          <a:noFill/>
          <a:ln w="9525">
            <a:noFill/>
            <a:miter lim="800000"/>
            <a:headEnd/>
            <a:tailEnd/>
          </a:ln>
        </p:spPr>
      </p:pic>
      <p:pic>
        <p:nvPicPr>
          <p:cNvPr id="47118" name="Picture 43" descr="Emirates_SkyCargo.png"/>
          <p:cNvPicPr>
            <a:picLocks noChangeAspect="1"/>
          </p:cNvPicPr>
          <p:nvPr/>
        </p:nvPicPr>
        <p:blipFill>
          <a:blip r:embed="rId13" cstate="print"/>
          <a:srcRect/>
          <a:stretch>
            <a:fillRect/>
          </a:stretch>
        </p:blipFill>
        <p:spPr bwMode="auto">
          <a:xfrm>
            <a:off x="7500938" y="1550988"/>
            <a:ext cx="1092200" cy="1092200"/>
          </a:xfrm>
          <a:prstGeom prst="rect">
            <a:avLst/>
          </a:prstGeom>
          <a:noFill/>
          <a:ln w="9525">
            <a:noFill/>
            <a:miter lim="800000"/>
            <a:headEnd/>
            <a:tailEnd/>
          </a:ln>
        </p:spPr>
      </p:pic>
      <p:pic>
        <p:nvPicPr>
          <p:cNvPr id="47119" name="Picture 44" descr="APL-1.png"/>
          <p:cNvPicPr>
            <a:picLocks noChangeAspect="1"/>
          </p:cNvPicPr>
          <p:nvPr/>
        </p:nvPicPr>
        <p:blipFill>
          <a:blip r:embed="rId14" cstate="print"/>
          <a:srcRect/>
          <a:stretch>
            <a:fillRect/>
          </a:stretch>
        </p:blipFill>
        <p:spPr bwMode="auto">
          <a:xfrm>
            <a:off x="1971675" y="3843338"/>
            <a:ext cx="971550" cy="971550"/>
          </a:xfrm>
          <a:prstGeom prst="rect">
            <a:avLst/>
          </a:prstGeom>
          <a:noFill/>
          <a:ln w="9525">
            <a:noFill/>
            <a:miter lim="800000"/>
            <a:headEnd/>
            <a:tailEnd/>
          </a:ln>
        </p:spPr>
      </p:pic>
      <p:pic>
        <p:nvPicPr>
          <p:cNvPr id="47120" name="Picture 46" descr="cma cgn.png"/>
          <p:cNvPicPr>
            <a:picLocks noChangeAspect="1"/>
          </p:cNvPicPr>
          <p:nvPr/>
        </p:nvPicPr>
        <p:blipFill>
          <a:blip r:embed="rId15" cstate="print"/>
          <a:srcRect/>
          <a:stretch>
            <a:fillRect/>
          </a:stretch>
        </p:blipFill>
        <p:spPr bwMode="auto">
          <a:xfrm>
            <a:off x="547688" y="3968750"/>
            <a:ext cx="1158875" cy="796925"/>
          </a:xfrm>
          <a:prstGeom prst="rect">
            <a:avLst/>
          </a:prstGeom>
          <a:noFill/>
          <a:ln w="9525">
            <a:noFill/>
            <a:miter lim="800000"/>
            <a:headEnd/>
            <a:tailEnd/>
          </a:ln>
        </p:spPr>
      </p:pic>
      <p:pic>
        <p:nvPicPr>
          <p:cNvPr id="47121" name="Picture 48" descr="safmarine.png"/>
          <p:cNvPicPr>
            <a:picLocks noChangeAspect="1"/>
          </p:cNvPicPr>
          <p:nvPr/>
        </p:nvPicPr>
        <p:blipFill>
          <a:blip r:embed="rId16" cstate="print"/>
          <a:srcRect/>
          <a:stretch>
            <a:fillRect/>
          </a:stretch>
        </p:blipFill>
        <p:spPr bwMode="auto">
          <a:xfrm>
            <a:off x="2508250" y="1584325"/>
            <a:ext cx="1728788" cy="457200"/>
          </a:xfrm>
          <a:prstGeom prst="rect">
            <a:avLst/>
          </a:prstGeom>
          <a:noFill/>
          <a:ln w="9525">
            <a:noFill/>
            <a:miter lim="800000"/>
            <a:headEnd/>
            <a:tailEnd/>
          </a:ln>
        </p:spPr>
      </p:pic>
      <p:pic>
        <p:nvPicPr>
          <p:cNvPr id="47122" name="Picture 49" descr="Air_France_Cargo-1.png"/>
          <p:cNvPicPr>
            <a:picLocks noChangeAspect="1"/>
          </p:cNvPicPr>
          <p:nvPr/>
        </p:nvPicPr>
        <p:blipFill>
          <a:blip r:embed="rId17" cstate="print"/>
          <a:srcRect t="38599" b="38080"/>
          <a:stretch>
            <a:fillRect/>
          </a:stretch>
        </p:blipFill>
        <p:spPr bwMode="auto">
          <a:xfrm>
            <a:off x="4749800" y="1800225"/>
            <a:ext cx="1644650" cy="384175"/>
          </a:xfrm>
          <a:prstGeom prst="rect">
            <a:avLst/>
          </a:prstGeom>
          <a:noFill/>
          <a:ln w="9525">
            <a:noFill/>
            <a:miter lim="800000"/>
            <a:headEnd/>
            <a:tailEnd/>
          </a:ln>
        </p:spPr>
      </p:pic>
      <p:pic>
        <p:nvPicPr>
          <p:cNvPr id="47123" name="Picture 50" descr="KLM_Cargo.png"/>
          <p:cNvPicPr>
            <a:picLocks noChangeAspect="1"/>
          </p:cNvPicPr>
          <p:nvPr/>
        </p:nvPicPr>
        <p:blipFill>
          <a:blip r:embed="rId18" cstate="print"/>
          <a:srcRect/>
          <a:stretch>
            <a:fillRect/>
          </a:stretch>
        </p:blipFill>
        <p:spPr bwMode="auto">
          <a:xfrm>
            <a:off x="6608763" y="1571625"/>
            <a:ext cx="673100" cy="673100"/>
          </a:xfrm>
          <a:prstGeom prst="rect">
            <a:avLst/>
          </a:prstGeom>
          <a:noFill/>
          <a:ln w="9525">
            <a:noFill/>
            <a:miter lim="800000"/>
            <a:headEnd/>
            <a:tailEnd/>
          </a:ln>
        </p:spPr>
      </p:pic>
      <p:pic>
        <p:nvPicPr>
          <p:cNvPr id="47124" name="Picture 23" descr="maerskline.jpg"/>
          <p:cNvPicPr>
            <a:picLocks noChangeAspect="1"/>
          </p:cNvPicPr>
          <p:nvPr/>
        </p:nvPicPr>
        <p:blipFill>
          <a:blip r:embed="rId19" cstate="print"/>
          <a:srcRect/>
          <a:stretch>
            <a:fillRect/>
          </a:stretch>
        </p:blipFill>
        <p:spPr bwMode="auto">
          <a:xfrm>
            <a:off x="1439863" y="3298825"/>
            <a:ext cx="2922587" cy="623888"/>
          </a:xfrm>
          <a:prstGeom prst="rect">
            <a:avLst/>
          </a:prstGeom>
          <a:noFill/>
          <a:ln w="9525">
            <a:noFill/>
            <a:miter lim="800000"/>
            <a:headEnd/>
            <a:tailEnd/>
          </a:ln>
        </p:spPr>
      </p:pic>
      <p:pic>
        <p:nvPicPr>
          <p:cNvPr id="47125" name="Picture 24"/>
          <p:cNvPicPr>
            <a:picLocks noChangeAspect="1" noChangeArrowheads="1"/>
          </p:cNvPicPr>
          <p:nvPr/>
        </p:nvPicPr>
        <p:blipFill>
          <a:blip r:embed="rId20" cstate="print"/>
          <a:srcRect/>
          <a:stretch>
            <a:fillRect/>
          </a:stretch>
        </p:blipFill>
        <p:spPr bwMode="auto">
          <a:xfrm>
            <a:off x="6037263" y="3527425"/>
            <a:ext cx="1147762" cy="393700"/>
          </a:xfrm>
          <a:prstGeom prst="rect">
            <a:avLst/>
          </a:prstGeom>
          <a:noFill/>
          <a:ln w="9525">
            <a:noFill/>
            <a:miter lim="800000"/>
            <a:headEnd/>
            <a:tailEnd/>
          </a:ln>
        </p:spPr>
      </p:pic>
      <p:pic>
        <p:nvPicPr>
          <p:cNvPr id="47126" name="Picture 24"/>
          <p:cNvPicPr>
            <a:picLocks noChangeAspect="1"/>
          </p:cNvPicPr>
          <p:nvPr/>
        </p:nvPicPr>
        <p:blipFill>
          <a:blip r:embed="rId21" cstate="print"/>
          <a:srcRect/>
          <a:stretch>
            <a:fillRect/>
          </a:stretch>
        </p:blipFill>
        <p:spPr bwMode="auto">
          <a:xfrm>
            <a:off x="757238" y="1671638"/>
            <a:ext cx="1370012" cy="293687"/>
          </a:xfrm>
          <a:prstGeom prst="rect">
            <a:avLst/>
          </a:prstGeom>
          <a:noFill/>
          <a:ln w="9525">
            <a:noFill/>
            <a:miter lim="800000"/>
            <a:headEnd/>
            <a:tailEnd/>
          </a:ln>
        </p:spPr>
      </p:pic>
      <p:pic>
        <p:nvPicPr>
          <p:cNvPr id="47127" name="Picture 24" descr="wincanton.jpg"/>
          <p:cNvPicPr>
            <a:picLocks noChangeAspect="1"/>
          </p:cNvPicPr>
          <p:nvPr/>
        </p:nvPicPr>
        <p:blipFill>
          <a:blip r:embed="rId22" cstate="print"/>
          <a:srcRect/>
          <a:stretch>
            <a:fillRect/>
          </a:stretch>
        </p:blipFill>
        <p:spPr bwMode="auto">
          <a:xfrm>
            <a:off x="3297238" y="5078413"/>
            <a:ext cx="1471612" cy="584200"/>
          </a:xfrm>
          <a:prstGeom prst="rect">
            <a:avLst/>
          </a:prstGeom>
          <a:noFill/>
          <a:ln w="9525">
            <a:noFill/>
            <a:miter lim="800000"/>
            <a:headEnd/>
            <a:tailEnd/>
          </a:ln>
        </p:spPr>
      </p:pic>
      <p:pic>
        <p:nvPicPr>
          <p:cNvPr id="47128" name="Picture 25" descr="RA_logo.jpg"/>
          <p:cNvPicPr>
            <a:picLocks noChangeAspect="1"/>
          </p:cNvPicPr>
          <p:nvPr/>
        </p:nvPicPr>
        <p:blipFill>
          <a:blip r:embed="rId23" cstate="print"/>
          <a:srcRect/>
          <a:stretch>
            <a:fillRect/>
          </a:stretch>
        </p:blipFill>
        <p:spPr bwMode="auto">
          <a:xfrm>
            <a:off x="5608638" y="5651500"/>
            <a:ext cx="2032000" cy="384175"/>
          </a:xfrm>
          <a:prstGeom prst="rect">
            <a:avLst/>
          </a:prstGeom>
          <a:noFill/>
          <a:ln w="9525">
            <a:noFill/>
            <a:miter lim="800000"/>
            <a:headEnd/>
            <a:tailEnd/>
          </a:ln>
        </p:spPr>
      </p:pic>
      <p:pic>
        <p:nvPicPr>
          <p:cNvPr id="47129" name="Picture 28" descr="logo-db-bahn.png"/>
          <p:cNvPicPr>
            <a:picLocks noChangeAspect="1"/>
          </p:cNvPicPr>
          <p:nvPr/>
        </p:nvPicPr>
        <p:blipFill>
          <a:blip r:embed="rId24" cstate="print"/>
          <a:srcRect/>
          <a:stretch>
            <a:fillRect/>
          </a:stretch>
        </p:blipFill>
        <p:spPr bwMode="auto">
          <a:xfrm>
            <a:off x="5092700" y="5184775"/>
            <a:ext cx="1470025" cy="373063"/>
          </a:xfrm>
          <a:prstGeom prst="rect">
            <a:avLst/>
          </a:prstGeom>
          <a:noFill/>
          <a:ln w="9525">
            <a:noFill/>
            <a:miter lim="800000"/>
            <a:headEnd/>
            <a:tailEnd/>
          </a:ln>
        </p:spPr>
      </p:pic>
      <p:pic>
        <p:nvPicPr>
          <p:cNvPr id="47130" name="Picture 32" descr="Dubai-World-Logo1.jpg"/>
          <p:cNvPicPr>
            <a:picLocks noChangeAspect="1"/>
          </p:cNvPicPr>
          <p:nvPr/>
        </p:nvPicPr>
        <p:blipFill>
          <a:blip r:embed="rId25" cstate="print"/>
          <a:srcRect t="13980" b="12988"/>
          <a:stretch>
            <a:fillRect/>
          </a:stretch>
        </p:blipFill>
        <p:spPr bwMode="auto">
          <a:xfrm>
            <a:off x="552450" y="5095875"/>
            <a:ext cx="1327150" cy="969963"/>
          </a:xfrm>
          <a:prstGeom prst="rect">
            <a:avLst/>
          </a:prstGeom>
          <a:noFill/>
          <a:ln w="9525">
            <a:noFill/>
            <a:miter lim="800000"/>
            <a:headEnd/>
            <a:tailEnd/>
          </a:ln>
        </p:spPr>
      </p:pic>
      <p:pic>
        <p:nvPicPr>
          <p:cNvPr id="47131" name="Picture 34" descr="CONTARGO-Logo.jpg"/>
          <p:cNvPicPr>
            <a:picLocks noChangeAspect="1"/>
          </p:cNvPicPr>
          <p:nvPr/>
        </p:nvPicPr>
        <p:blipFill>
          <a:blip r:embed="rId26" cstate="print"/>
          <a:srcRect/>
          <a:stretch>
            <a:fillRect/>
          </a:stretch>
        </p:blipFill>
        <p:spPr bwMode="auto">
          <a:xfrm>
            <a:off x="1676400" y="4973638"/>
            <a:ext cx="1319213" cy="811212"/>
          </a:xfrm>
          <a:prstGeom prst="rect">
            <a:avLst/>
          </a:prstGeom>
          <a:noFill/>
          <a:ln w="9525">
            <a:noFill/>
            <a:miter lim="800000"/>
            <a:headEnd/>
            <a:tailEnd/>
          </a:ln>
        </p:spPr>
      </p:pic>
      <p:pic>
        <p:nvPicPr>
          <p:cNvPr id="47132" name="Picture 36"/>
          <p:cNvPicPr>
            <a:picLocks noChangeAspect="1"/>
          </p:cNvPicPr>
          <p:nvPr/>
        </p:nvPicPr>
        <p:blipFill>
          <a:blip r:embed="rId27" cstate="print"/>
          <a:srcRect/>
          <a:stretch>
            <a:fillRect/>
          </a:stretch>
        </p:blipFill>
        <p:spPr bwMode="auto">
          <a:xfrm>
            <a:off x="795338" y="2741613"/>
            <a:ext cx="1020762" cy="466725"/>
          </a:xfrm>
          <a:prstGeom prst="rect">
            <a:avLst/>
          </a:prstGeom>
          <a:noFill/>
          <a:ln w="9525">
            <a:noFill/>
            <a:miter lim="800000"/>
            <a:headEnd/>
            <a:tailEnd/>
          </a:ln>
        </p:spPr>
      </p:pic>
      <p:pic>
        <p:nvPicPr>
          <p:cNvPr id="47133" name="Picture 35"/>
          <p:cNvPicPr>
            <a:picLocks noChangeAspect="1"/>
          </p:cNvPicPr>
          <p:nvPr/>
        </p:nvPicPr>
        <p:blipFill>
          <a:blip r:embed="rId28" cstate="print"/>
          <a:srcRect r="56470"/>
          <a:stretch>
            <a:fillRect/>
          </a:stretch>
        </p:blipFill>
        <p:spPr bwMode="auto">
          <a:xfrm>
            <a:off x="7100888" y="5135563"/>
            <a:ext cx="1238250" cy="565150"/>
          </a:xfrm>
          <a:prstGeom prst="rect">
            <a:avLst/>
          </a:prstGeom>
          <a:noFill/>
          <a:ln w="9525">
            <a:noFill/>
            <a:miter lim="800000"/>
            <a:headEnd/>
            <a:tailEnd/>
          </a:ln>
        </p:spPr>
      </p:pic>
      <p:sp>
        <p:nvSpPr>
          <p:cNvPr id="34" name="Rounded Rectangle 38"/>
          <p:cNvSpPr>
            <a:spLocks noChangeArrowheads="1"/>
          </p:cNvSpPr>
          <p:nvPr/>
        </p:nvSpPr>
        <p:spPr bwMode="auto">
          <a:xfrm>
            <a:off x="465138" y="4997450"/>
            <a:ext cx="8308975" cy="1111250"/>
          </a:xfrm>
          <a:prstGeom prst="roundRect">
            <a:avLst>
              <a:gd name="adj" fmla="val 4472"/>
            </a:avLst>
          </a:prstGeom>
          <a:noFill/>
          <a:ln w="6350" algn="ctr">
            <a:solidFill>
              <a:schemeClr val="bg1">
                <a:lumMod val="85000"/>
              </a:schemeClr>
            </a:solidFill>
            <a:round/>
            <a:headEnd/>
            <a:tailEnd/>
          </a:ln>
        </p:spPr>
        <p:txBody>
          <a:bodyPr lIns="81648" tIns="42457" rIns="81648" bIns="42457" anchor="ctr"/>
          <a:lstStyle/>
          <a:p>
            <a:pPr marL="341313" indent="-341313" defTabSz="830263" eaLnBrk="0" hangingPunct="0">
              <a:spcBef>
                <a:spcPct val="50000"/>
              </a:spcBef>
              <a:spcAft>
                <a:spcPts val="1200"/>
              </a:spcAft>
              <a:buClr>
                <a:srgbClr val="FFFFFF"/>
              </a:buClr>
            </a:pPr>
            <a:endParaRPr lang="en-GB" sz="1100">
              <a:solidFill>
                <a:srgbClr val="FFFFFF"/>
              </a:solidFill>
              <a:latin typeface="Verdana" pitchFamily="34" charset="0"/>
              <a:ea typeface="ＭＳ Ｐゴシック" pitchFamily="34" charset="-128"/>
            </a:endParaRPr>
          </a:p>
        </p:txBody>
      </p:sp>
      <p:pic>
        <p:nvPicPr>
          <p:cNvPr id="47135" name="Picture 37"/>
          <p:cNvPicPr>
            <a:picLocks noChangeAspect="1"/>
          </p:cNvPicPr>
          <p:nvPr/>
        </p:nvPicPr>
        <p:blipFill>
          <a:blip r:embed="rId29" cstate="print"/>
          <a:srcRect/>
          <a:stretch>
            <a:fillRect/>
          </a:stretch>
        </p:blipFill>
        <p:spPr bwMode="auto">
          <a:xfrm>
            <a:off x="2239963" y="5756275"/>
            <a:ext cx="2427287" cy="249238"/>
          </a:xfrm>
          <a:prstGeom prst="rect">
            <a:avLst/>
          </a:prstGeom>
          <a:noFill/>
          <a:ln w="9525">
            <a:noFill/>
            <a:miter lim="800000"/>
            <a:headEnd/>
            <a:tailEnd/>
          </a:ln>
        </p:spPr>
      </p:pic>
      <p:sp>
        <p:nvSpPr>
          <p:cNvPr id="47136" name="Rectangle 2"/>
          <p:cNvSpPr>
            <a:spLocks noChangeArrowheads="1"/>
          </p:cNvSpPr>
          <p:nvPr/>
        </p:nvSpPr>
        <p:spPr bwMode="auto">
          <a:xfrm>
            <a:off x="588963" y="292100"/>
            <a:ext cx="6192837" cy="647700"/>
          </a:xfrm>
          <a:prstGeom prst="rect">
            <a:avLst/>
          </a:prstGeom>
          <a:noFill/>
          <a:ln w="9525">
            <a:noFill/>
            <a:miter lim="800000"/>
            <a:headEnd/>
            <a:tailEnd/>
          </a:ln>
        </p:spPr>
        <p:txBody>
          <a:bodyPr lIns="82944" tIns="41472" rIns="82944" bIns="41472" anchor="b"/>
          <a:lstStyle/>
          <a:p>
            <a:endParaRPr lang="en-GB" sz="2400">
              <a:solidFill>
                <a:schemeClr val="tx2"/>
              </a:solidFill>
              <a:latin typeface="Verdana" pitchFamily="34" charset="0"/>
            </a:endParaRPr>
          </a:p>
        </p:txBody>
      </p:sp>
      <p:sp>
        <p:nvSpPr>
          <p:cNvPr id="47137" name="Title 37"/>
          <p:cNvSpPr>
            <a:spLocks noGrp="1"/>
          </p:cNvSpPr>
          <p:nvPr>
            <p:ph type="title"/>
          </p:nvPr>
        </p:nvSpPr>
        <p:spPr>
          <a:xfrm>
            <a:off x="428596" y="214290"/>
            <a:ext cx="8229600" cy="993775"/>
          </a:xfrm>
        </p:spPr>
        <p:txBody>
          <a:bodyPr/>
          <a:lstStyle/>
          <a:p>
            <a:r>
              <a:rPr lang="es-CR" dirty="0" smtClean="0">
                <a:ea typeface="ＭＳ Ｐゴシック" pitchFamily="34" charset="-128"/>
              </a:rPr>
              <a:t>Nuestra red de alianzas en transporte</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68313" y="973138"/>
            <a:ext cx="6911975" cy="1439862"/>
          </a:xfrm>
        </p:spPr>
        <p:txBody>
          <a:bodyPr>
            <a:normAutofit/>
          </a:bodyPr>
          <a:lstStyle/>
          <a:p>
            <a:r>
              <a:rPr lang="en-US" dirty="0" smtClean="0">
                <a:solidFill>
                  <a:srgbClr val="00215B"/>
                </a:solidFill>
                <a:ea typeface="ＭＳ Ｐゴシック" pitchFamily="34" charset="-128"/>
              </a:rPr>
              <a:t>Gracias!!</a:t>
            </a:r>
          </a:p>
        </p:txBody>
      </p:sp>
      <p:sp>
        <p:nvSpPr>
          <p:cNvPr id="4" name="Text Placeholder 3"/>
          <p:cNvSpPr>
            <a:spLocks noGrp="1"/>
          </p:cNvSpPr>
          <p:nvPr>
            <p:ph type="subTitle" idx="1"/>
          </p:nvPr>
        </p:nvSpPr>
        <p:spPr>
          <a:xfrm>
            <a:off x="468313" y="2484438"/>
            <a:ext cx="6911975" cy="792162"/>
          </a:xfrm>
        </p:spPr>
        <p:txBody>
          <a:bodyPr/>
          <a:lstStyle/>
          <a:p>
            <a:r>
              <a:rPr lang="en-US" dirty="0" smtClean="0">
                <a:solidFill>
                  <a:srgbClr val="595959"/>
                </a:solidFill>
                <a:ea typeface="ＭＳ Ｐゴシック" pitchFamily="34" charset="-128"/>
              </a:rPr>
              <a:t>Mauro Suazo;  Reefer Business Director North America  </a:t>
            </a:r>
          </a:p>
          <a:p>
            <a:r>
              <a:rPr lang="en-US" dirty="0" smtClean="0">
                <a:solidFill>
                  <a:srgbClr val="595959"/>
                </a:solidFill>
                <a:ea typeface="ＭＳ Ｐゴシック" pitchFamily="34" charset="-128"/>
              </a:rPr>
              <a:t>Oscar Oporta; Reefer Business Director Central America</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s-CR" b="1" dirty="0" smtClean="0">
                <a:solidFill>
                  <a:srgbClr val="FFFF00"/>
                </a:solidFill>
                <a:ea typeface="ＭＳ Ｐゴシック" pitchFamily="34" charset="-128"/>
              </a:rPr>
              <a:t>Porque trabajar con DAMCO</a:t>
            </a:r>
            <a:r>
              <a:rPr lang="en-US" b="1" dirty="0" smtClean="0">
                <a:solidFill>
                  <a:srgbClr val="FFFF00"/>
                </a:solidFill>
                <a:ea typeface="ＭＳ Ｐゴシック" pitchFamily="34" charset="-128"/>
              </a:rPr>
              <a:t>?</a:t>
            </a:r>
            <a:r>
              <a:rPr lang="en-US" dirty="0" smtClean="0">
                <a:solidFill>
                  <a:srgbClr val="FFFF00"/>
                </a:solidFill>
                <a:ea typeface="ＭＳ Ｐゴシック" pitchFamily="34" charset="-128"/>
              </a:rPr>
              <a:t/>
            </a:r>
            <a:br>
              <a:rPr lang="en-US" dirty="0" smtClean="0">
                <a:solidFill>
                  <a:srgbClr val="FFFF00"/>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s-CR" dirty="0" smtClean="0">
                <a:solidFill>
                  <a:srgbClr val="FFFFFF"/>
                </a:solidFill>
                <a:ea typeface="ＭＳ Ｐゴシック" pitchFamily="34" charset="-128"/>
              </a:rPr>
              <a:t>Esta usted interesado en </a:t>
            </a:r>
            <a:r>
              <a:rPr lang="es-CR" dirty="0" smtClean="0">
                <a:solidFill>
                  <a:srgbClr val="0070C0"/>
                </a:solidFill>
                <a:ea typeface="ＭＳ Ｐゴシック" pitchFamily="34" charset="-128"/>
              </a:rPr>
              <a:t>reducir</a:t>
            </a:r>
            <a:r>
              <a:rPr lang="es-CR" dirty="0" smtClean="0">
                <a:solidFill>
                  <a:srgbClr val="FFFFFF"/>
                </a:solidFill>
                <a:ea typeface="ＭＳ Ｐゴシック" pitchFamily="34" charset="-128"/>
              </a:rPr>
              <a:t> los </a:t>
            </a:r>
            <a:r>
              <a:rPr lang="es-CR" dirty="0" smtClean="0">
                <a:solidFill>
                  <a:srgbClr val="0070C0"/>
                </a:solidFill>
                <a:ea typeface="ＭＳ Ｐゴシック" pitchFamily="34" charset="-128"/>
              </a:rPr>
              <a:t>costos</a:t>
            </a:r>
            <a:r>
              <a:rPr lang="es-CR" dirty="0" smtClean="0">
                <a:solidFill>
                  <a:srgbClr val="FFFFFF"/>
                </a:solidFill>
                <a:ea typeface="ＭＳ Ｐゴシック" pitchFamily="34" charset="-128"/>
              </a:rPr>
              <a:t> en la cadena de suministro, </a:t>
            </a:r>
            <a:r>
              <a:rPr lang="es-CR" dirty="0" smtClean="0">
                <a:solidFill>
                  <a:srgbClr val="0070C0"/>
                </a:solidFill>
                <a:ea typeface="ＭＳ Ｐゴシック" pitchFamily="34" charset="-128"/>
              </a:rPr>
              <a:t>mejorar</a:t>
            </a:r>
            <a:r>
              <a:rPr lang="es-CR" dirty="0" smtClean="0">
                <a:solidFill>
                  <a:srgbClr val="FFFFFF"/>
                </a:solidFill>
                <a:ea typeface="ＭＳ Ｐゴシック" pitchFamily="34" charset="-128"/>
              </a:rPr>
              <a:t> la </a:t>
            </a:r>
            <a:r>
              <a:rPr lang="es-CR" dirty="0" smtClean="0">
                <a:solidFill>
                  <a:srgbClr val="0070C0"/>
                </a:solidFill>
                <a:ea typeface="ＭＳ Ｐゴシック" pitchFamily="34" charset="-128"/>
              </a:rPr>
              <a:t>calidad</a:t>
            </a:r>
            <a:r>
              <a:rPr lang="es-CR" dirty="0" smtClean="0">
                <a:solidFill>
                  <a:srgbClr val="FFFFFF"/>
                </a:solidFill>
                <a:ea typeface="ＭＳ Ｐゴシック" pitchFamily="34" charset="-128"/>
              </a:rPr>
              <a:t>, el tiempo de vida de sus productos frescos en el destino final y asegurar una </a:t>
            </a:r>
            <a:r>
              <a:rPr lang="es-CR" dirty="0" smtClean="0">
                <a:solidFill>
                  <a:srgbClr val="0070C0"/>
                </a:solidFill>
                <a:ea typeface="ＭＳ Ｐゴシック" pitchFamily="34" charset="-128"/>
              </a:rPr>
              <a:t>entrega confiable</a:t>
            </a:r>
            <a:r>
              <a:rPr lang="es-CR" dirty="0" smtClean="0">
                <a:solidFill>
                  <a:srgbClr val="FFFFFF"/>
                </a:solidFill>
                <a:ea typeface="ＭＳ Ｐゴシック" pitchFamily="34" charset="-128"/>
              </a:rPr>
              <a:t>?</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Title 7"/>
          <p:cNvSpPr>
            <a:spLocks noGrp="1"/>
          </p:cNvSpPr>
          <p:nvPr>
            <p:ph type="title"/>
          </p:nvPr>
        </p:nvSpPr>
        <p:spPr>
          <a:xfrm>
            <a:off x="457200" y="214290"/>
            <a:ext cx="8229600" cy="993775"/>
          </a:xfrm>
        </p:spPr>
        <p:txBody>
          <a:bodyPr/>
          <a:lstStyle/>
          <a:p>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n-US" dirty="0" smtClean="0">
                <a:solidFill>
                  <a:srgbClr val="FFFFFF"/>
                </a:solidFill>
                <a:ea typeface="ＭＳ Ｐゴシック" pitchFamily="34" charset="-128"/>
              </a:rPr>
              <a:t/>
            </a:r>
            <a:br>
              <a:rPr lang="en-US" dirty="0" smtClean="0">
                <a:solidFill>
                  <a:srgbClr val="FFFFFF"/>
                </a:solidFill>
                <a:ea typeface="ＭＳ Ｐゴシック" pitchFamily="34" charset="-128"/>
              </a:rPr>
            </a:br>
            <a:r>
              <a:rPr lang="es-CR" sz="2400" dirty="0" smtClean="0">
                <a:solidFill>
                  <a:srgbClr val="FFFFFF"/>
                </a:solidFill>
                <a:ea typeface="ＭＳ Ｐゴシック" pitchFamily="34" charset="-128"/>
              </a:rPr>
              <a:t>DAMCO ofrece una vertical integrada de servicios logísticos (Puerta – Puerta) desde el origen del producto (productores, empacadores, embarcadores) hasta el punto de venta con su red de oficinas alrededor del mundo </a:t>
            </a:r>
            <a:br>
              <a:rPr lang="es-CR" sz="2400" dirty="0" smtClean="0">
                <a:solidFill>
                  <a:srgbClr val="FFFFFF"/>
                </a:solidFill>
                <a:ea typeface="ＭＳ Ｐゴシック" pitchFamily="34" charset="-128"/>
              </a:rPr>
            </a:br>
            <a:r>
              <a:rPr lang="es-CR" sz="2400" dirty="0" smtClean="0">
                <a:solidFill>
                  <a:srgbClr val="FFFFFF"/>
                </a:solidFill>
                <a:ea typeface="ＭＳ Ｐゴシック" pitchFamily="34" charset="-128"/>
              </a:rPr>
              <a:t> </a:t>
            </a:r>
            <a:br>
              <a:rPr lang="es-CR" sz="2400" dirty="0" smtClean="0">
                <a:solidFill>
                  <a:srgbClr val="FFFFFF"/>
                </a:solidFill>
                <a:ea typeface="ＭＳ Ｐゴシック" pitchFamily="34" charset="-128"/>
              </a:rPr>
            </a:br>
            <a:r>
              <a:rPr lang="es-CR" sz="2400" b="1" dirty="0" smtClean="0">
                <a:solidFill>
                  <a:srgbClr val="FFFF00"/>
                </a:solidFill>
                <a:ea typeface="ＭＳ Ｐゴシック" pitchFamily="34" charset="-128"/>
              </a:rPr>
              <a:t>Estos servicios son</a:t>
            </a:r>
            <a:r>
              <a:rPr lang="es-CR" sz="2400" dirty="0" smtClean="0">
                <a:solidFill>
                  <a:srgbClr val="FFFFFF"/>
                </a:solidFill>
                <a:ea typeface="ＭＳ Ｐゴシック" pitchFamily="34" charset="-128"/>
              </a:rPr>
              <a:t/>
            </a:r>
            <a:br>
              <a:rPr lang="es-CR" sz="2400" dirty="0" smtClean="0">
                <a:solidFill>
                  <a:srgbClr val="FFFFFF"/>
                </a:solidFill>
                <a:ea typeface="ＭＳ Ｐゴシック" pitchFamily="34" charset="-128"/>
              </a:rPr>
            </a:br>
            <a:r>
              <a:rPr lang="es-CR" sz="2400" dirty="0" smtClean="0">
                <a:solidFill>
                  <a:srgbClr val="FFFFFF"/>
                </a:solidFill>
                <a:ea typeface="ＭＳ Ｐゴシック" pitchFamily="34" charset="-128"/>
              </a:rPr>
              <a:t>- En Origen: BKA, LSS, FF, CHB, OCE &amp; Seguros de carga.</a:t>
            </a:r>
            <a:br>
              <a:rPr lang="es-CR" sz="2400" dirty="0" smtClean="0">
                <a:solidFill>
                  <a:srgbClr val="FFFFFF"/>
                </a:solidFill>
                <a:ea typeface="ＭＳ Ｐゴシック" pitchFamily="34" charset="-128"/>
              </a:rPr>
            </a:br>
            <a:r>
              <a:rPr lang="es-CR" sz="2400" dirty="0" smtClean="0">
                <a:solidFill>
                  <a:srgbClr val="FFFFFF"/>
                </a:solidFill>
                <a:ea typeface="ＭＳ Ｐゴシック" pitchFamily="34" charset="-128"/>
              </a:rPr>
              <a:t/>
            </a:r>
            <a:br>
              <a:rPr lang="es-CR" sz="2400" dirty="0" smtClean="0">
                <a:solidFill>
                  <a:srgbClr val="FFFFFF"/>
                </a:solidFill>
                <a:ea typeface="ＭＳ Ｐゴシック" pitchFamily="34" charset="-128"/>
              </a:rPr>
            </a:br>
            <a:r>
              <a:rPr lang="es-CR" sz="2400" dirty="0" smtClean="0">
                <a:solidFill>
                  <a:srgbClr val="FFFFFF"/>
                </a:solidFill>
                <a:ea typeface="ＭＳ Ｐゴシック" pitchFamily="34" charset="-128"/>
              </a:rPr>
              <a:t>- En Destino: CHB, LSS, Cross Dock, </a:t>
            </a:r>
            <a:r>
              <a:rPr lang="es-CR" sz="2400" dirty="0" err="1" smtClean="0">
                <a:solidFill>
                  <a:srgbClr val="FFFFFF"/>
                </a:solidFill>
                <a:ea typeface="ＭＳ Ｐゴシック" pitchFamily="34" charset="-128"/>
              </a:rPr>
              <a:t>Delivery</a:t>
            </a:r>
            <a:r>
              <a:rPr lang="es-CR" sz="2400" dirty="0" smtClean="0">
                <a:solidFill>
                  <a:srgbClr val="FFFFFF"/>
                </a:solidFill>
                <a:ea typeface="ＭＳ Ｐゴシック" pitchFamily="34" charset="-128"/>
              </a:rPr>
              <a:t> &amp; QC.  </a:t>
            </a:r>
          </a:p>
        </p:txBody>
      </p:sp>
      <p:sp>
        <p:nvSpPr>
          <p:cNvPr id="4" name="Title 7"/>
          <p:cNvSpPr txBox="1">
            <a:spLocks/>
          </p:cNvSpPr>
          <p:nvPr/>
        </p:nvSpPr>
        <p:spPr bwMode="auto">
          <a:xfrm>
            <a:off x="457200" y="274638"/>
            <a:ext cx="8229600" cy="9937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s-CR" sz="2800" b="1" dirty="0" smtClean="0">
                <a:solidFill>
                  <a:srgbClr val="FFFF00"/>
                </a:solidFill>
                <a:latin typeface="+mj-lt"/>
                <a:ea typeface="ＭＳ Ｐゴシック" pitchFamily="34" charset="-128"/>
                <a:cs typeface="ＭＳ Ｐゴシック" pitchFamily="-110" charset="-128"/>
              </a:rPr>
              <a:t>Porque trabajar con</a:t>
            </a:r>
            <a:r>
              <a:rPr kumimoji="0" lang="es-CR" sz="2800" b="1" i="0" u="none" strike="noStrike" kern="1200" cap="none" spc="0" normalizeH="0" baseline="0" noProof="0" dirty="0" smtClean="0">
                <a:ln>
                  <a:noFill/>
                </a:ln>
                <a:solidFill>
                  <a:srgbClr val="FFFF00"/>
                </a:solidFill>
                <a:effectLst/>
                <a:uLnTx/>
                <a:uFillTx/>
                <a:latin typeface="+mj-lt"/>
                <a:ea typeface="ＭＳ Ｐゴシック" pitchFamily="34" charset="-128"/>
                <a:cs typeface="ＭＳ Ｐゴシック" pitchFamily="-110" charset="-128"/>
              </a:rPr>
              <a:t> DAMCO</a:t>
            </a:r>
            <a:r>
              <a:rPr kumimoji="0" lang="en-US" sz="2800" b="1" i="0" u="none" strike="noStrike" kern="1200" cap="none" spc="0" normalizeH="0" baseline="0" noProof="0" dirty="0" smtClean="0">
                <a:ln>
                  <a:noFill/>
                </a:ln>
                <a:solidFill>
                  <a:srgbClr val="FFFF00"/>
                </a:solidFill>
                <a:effectLst/>
                <a:uLnTx/>
                <a:uFillTx/>
                <a:latin typeface="+mj-lt"/>
                <a:ea typeface="ＭＳ Ｐゴシック" pitchFamily="34" charset="-128"/>
                <a:cs typeface="ＭＳ Ｐゴシック" pitchFamily="-110" charset="-128"/>
              </a:rPr>
              <a:t>?</a:t>
            </a:r>
            <a:endParaRPr kumimoji="0" lang="en-US" sz="2800" b="1" i="0" u="none" strike="noStrike" kern="1200" cap="none" spc="0" normalizeH="0" baseline="0" noProof="0" dirty="0" smtClean="0">
              <a:ln>
                <a:noFill/>
              </a:ln>
              <a:solidFill>
                <a:srgbClr val="FFFFFF"/>
              </a:solidFill>
              <a:effectLst/>
              <a:uLnTx/>
              <a:uFillTx/>
              <a:latin typeface="+mj-lt"/>
              <a:ea typeface="ＭＳ Ｐゴシック" pitchFamily="34" charset="-128"/>
              <a:cs typeface="ＭＳ Ｐゴシック" pitchFamily="-110" charset="-128"/>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3"/>
          <p:cNvSpPr>
            <a:spLocks noGrp="1"/>
          </p:cNvSpPr>
          <p:nvPr>
            <p:ph type="title"/>
          </p:nvPr>
        </p:nvSpPr>
        <p:spPr>
          <a:xfrm>
            <a:off x="457200" y="274638"/>
            <a:ext cx="8435280" cy="1138138"/>
          </a:xfrm>
        </p:spPr>
        <p:txBody>
          <a:bodyPr/>
          <a:lstStyle/>
          <a:p>
            <a:r>
              <a:rPr lang="es-CR" sz="2400" dirty="0" smtClean="0">
                <a:ea typeface="ＭＳ Ｐゴシック" pitchFamily="34" charset="-128"/>
              </a:rPr>
              <a:t>La Manera mas rápida de incrementar su rentabilidad es comprando directamente de la fuente.</a:t>
            </a:r>
          </a:p>
        </p:txBody>
      </p:sp>
      <p:sp>
        <p:nvSpPr>
          <p:cNvPr id="11267" name="Content Placeholder 4"/>
          <p:cNvSpPr>
            <a:spLocks noGrp="1"/>
          </p:cNvSpPr>
          <p:nvPr>
            <p:ph sz="half" idx="1"/>
          </p:nvPr>
        </p:nvSpPr>
        <p:spPr>
          <a:xfrm>
            <a:off x="457200" y="1484313"/>
            <a:ext cx="4267200" cy="4641850"/>
          </a:xfrm>
        </p:spPr>
        <p:txBody>
          <a:bodyPr/>
          <a:lstStyle/>
          <a:p>
            <a:r>
              <a:rPr lang="es-CR" dirty="0" smtClean="0">
                <a:ea typeface="ＭＳ Ｐゴシック" pitchFamily="34" charset="-128"/>
              </a:rPr>
              <a:t>Usted ve la oportunidad de negocio pero trabajar directamente con productores / exportadores puede ser un reto</a:t>
            </a:r>
          </a:p>
          <a:p>
            <a:r>
              <a:rPr lang="es-CR" dirty="0" smtClean="0">
                <a:ea typeface="ＭＳ Ｐゴシック" pitchFamily="34" charset="-128"/>
              </a:rPr>
              <a:t>El mejor acercamiento con el productor / exportador es ir reduciendo gradualmente el canal de intermediación</a:t>
            </a:r>
          </a:p>
          <a:p>
            <a:r>
              <a:rPr lang="es-CR" dirty="0" smtClean="0">
                <a:ea typeface="ＭＳ Ｐゴシック" pitchFamily="34" charset="-128"/>
              </a:rPr>
              <a:t>Con su propio desarrollo de la cadena de suministros, usted puede incrementar su rentabilidad, reduciendo la dependencia de intermediarios y optimizando la Logistica de transporte</a:t>
            </a:r>
          </a:p>
        </p:txBody>
      </p:sp>
      <p:grpSp>
        <p:nvGrpSpPr>
          <p:cNvPr id="11268" name="Group 6"/>
          <p:cNvGrpSpPr>
            <a:grpSpLocks/>
          </p:cNvGrpSpPr>
          <p:nvPr/>
        </p:nvGrpSpPr>
        <p:grpSpPr bwMode="auto">
          <a:xfrm>
            <a:off x="4619625" y="3249613"/>
            <a:ext cx="4219575" cy="2846387"/>
            <a:chOff x="4728480" y="2358737"/>
            <a:chExt cx="4219796" cy="2846918"/>
          </a:xfrm>
        </p:grpSpPr>
        <p:pic>
          <p:nvPicPr>
            <p:cNvPr id="11269" name="Picture 2"/>
            <p:cNvPicPr>
              <a:picLocks noChangeAspect="1"/>
            </p:cNvPicPr>
            <p:nvPr/>
          </p:nvPicPr>
          <p:blipFill>
            <a:blip r:embed="rId3" cstate="print">
              <a:clrChange>
                <a:clrFrom>
                  <a:srgbClr val="FFFFFF"/>
                </a:clrFrom>
                <a:clrTo>
                  <a:srgbClr val="FFFFFF">
                    <a:alpha val="0"/>
                  </a:srgbClr>
                </a:clrTo>
              </a:clrChange>
            </a:blip>
            <a:srcRect/>
            <a:stretch>
              <a:fillRect/>
            </a:stretch>
          </p:blipFill>
          <p:spPr bwMode="auto">
            <a:xfrm rot="-7370557">
              <a:off x="5566139" y="1823517"/>
              <a:ext cx="2846918" cy="3917357"/>
            </a:xfrm>
            <a:prstGeom prst="rect">
              <a:avLst/>
            </a:prstGeom>
            <a:noFill/>
            <a:ln w="9525">
              <a:noFill/>
              <a:miter lim="800000"/>
              <a:headEnd/>
              <a:tailEnd/>
            </a:ln>
          </p:spPr>
        </p:pic>
        <p:sp>
          <p:nvSpPr>
            <p:cNvPr id="11270" name="Rectangle 5"/>
            <p:cNvSpPr>
              <a:spLocks noChangeArrowheads="1"/>
            </p:cNvSpPr>
            <p:nvPr/>
          </p:nvSpPr>
          <p:spPr bwMode="auto">
            <a:xfrm rot="-2527554">
              <a:off x="4728480" y="2538300"/>
              <a:ext cx="2927502" cy="338554"/>
            </a:xfrm>
            <a:prstGeom prst="rect">
              <a:avLst/>
            </a:prstGeom>
            <a:noFill/>
            <a:ln w="9525">
              <a:noFill/>
              <a:miter lim="800000"/>
              <a:headEnd/>
              <a:tailEnd/>
            </a:ln>
          </p:spPr>
          <p:txBody>
            <a:bodyPr>
              <a:spAutoFit/>
            </a:bodyPr>
            <a:lstStyle/>
            <a:p>
              <a:pPr algn="ctr"/>
              <a:r>
                <a:rPr lang="en-US" sz="1600" b="1">
                  <a:solidFill>
                    <a:srgbClr val="AEA098"/>
                  </a:solidFill>
                </a:rPr>
                <a:t>15-20% Extra Profit</a:t>
              </a: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457200" y="274638"/>
            <a:ext cx="8686800" cy="993775"/>
          </a:xfrm>
        </p:spPr>
        <p:txBody>
          <a:bodyPr/>
          <a:lstStyle/>
          <a:p>
            <a:r>
              <a:rPr lang="es-CR" sz="2400" dirty="0" smtClean="0">
                <a:ea typeface="ＭＳ Ｐゴシック" pitchFamily="34" charset="-128"/>
              </a:rPr>
              <a:t>La Logistica de puerta a puerta para entregas directas a detallistas y mayoristas alrededor del mundo.</a:t>
            </a:r>
          </a:p>
        </p:txBody>
      </p:sp>
      <p:sp>
        <p:nvSpPr>
          <p:cNvPr id="66565" name="Content Placeholder 2"/>
          <p:cNvSpPr>
            <a:spLocks noGrp="1"/>
          </p:cNvSpPr>
          <p:nvPr>
            <p:ph sz="half" idx="1"/>
          </p:nvPr>
        </p:nvSpPr>
        <p:spPr>
          <a:xfrm>
            <a:off x="457200" y="1484313"/>
            <a:ext cx="4038600" cy="4641850"/>
          </a:xfrm>
        </p:spPr>
        <p:txBody>
          <a:bodyPr/>
          <a:lstStyle/>
          <a:p>
            <a:pPr>
              <a:buFont typeface="Arial" charset="0"/>
              <a:buNone/>
            </a:pPr>
            <a:r>
              <a:rPr lang="en-US" b="1" dirty="0" smtClean="0">
                <a:solidFill>
                  <a:srgbClr val="54AB42"/>
                </a:solidFill>
                <a:ea typeface="ＭＳ Ｐゴシック" pitchFamily="34" charset="-128"/>
              </a:rPr>
              <a:t>Damco Fresh Produce Direct:</a:t>
            </a:r>
          </a:p>
          <a:p>
            <a:pPr>
              <a:buClr>
                <a:schemeClr val="accent2"/>
              </a:buClr>
            </a:pPr>
            <a:r>
              <a:rPr lang="es-CR" sz="1600" dirty="0" smtClean="0">
                <a:ea typeface="ＭＳ Ｐゴシック" pitchFamily="34" charset="-128"/>
              </a:rPr>
              <a:t>Se ajusta perfectamente a los requerimientos y necesidades entre los compradores y las fuentes de suministros.</a:t>
            </a:r>
          </a:p>
          <a:p>
            <a:pPr>
              <a:buClr>
                <a:schemeClr val="accent2"/>
              </a:buClr>
            </a:pPr>
            <a:r>
              <a:rPr lang="es-CR" sz="1600" dirty="0" smtClean="0">
                <a:ea typeface="ＭＳ Ｐゴシック" pitchFamily="34" charset="-128"/>
              </a:rPr>
              <a:t>Inicia el control de la cadena de frio desde la finca. </a:t>
            </a:r>
          </a:p>
          <a:p>
            <a:pPr>
              <a:buClr>
                <a:schemeClr val="accent2"/>
              </a:buClr>
            </a:pPr>
            <a:r>
              <a:rPr lang="es-CR" sz="1600" dirty="0" smtClean="0">
                <a:ea typeface="ＭＳ Ｐゴシック" pitchFamily="34" charset="-128"/>
              </a:rPr>
              <a:t>Provee seguros de riesgos con coberturas eficientes.</a:t>
            </a:r>
          </a:p>
          <a:p>
            <a:pPr>
              <a:buClr>
                <a:schemeClr val="accent2"/>
              </a:buClr>
            </a:pPr>
            <a:r>
              <a:rPr lang="es-CR" sz="1600" dirty="0" smtClean="0">
                <a:ea typeface="ＭＳ Ｐゴシック" pitchFamily="34" charset="-128"/>
              </a:rPr>
              <a:t>Administra las locaciones en el transporte tanto marítimo y terrestre así como aéreo</a:t>
            </a:r>
          </a:p>
          <a:p>
            <a:pPr>
              <a:buClr>
                <a:schemeClr val="accent2"/>
              </a:buClr>
            </a:pPr>
            <a:r>
              <a:rPr lang="es-CR" sz="1600" dirty="0" smtClean="0">
                <a:ea typeface="ＭＳ Ｐゴシック" pitchFamily="34" charset="-128"/>
              </a:rPr>
              <a:t>Asegura un servicio especializado y transparencia en los costos</a:t>
            </a:r>
          </a:p>
          <a:p>
            <a:pPr>
              <a:buClr>
                <a:schemeClr val="accent2"/>
              </a:buClr>
            </a:pPr>
            <a:r>
              <a:rPr lang="es-CR" sz="1600" dirty="0" smtClean="0">
                <a:ea typeface="ＭＳ Ｐゴシック" pitchFamily="34" charset="-128"/>
              </a:rPr>
              <a:t>Visibilidad completa en toda la cadena Logistica.</a:t>
            </a:r>
            <a:endParaRPr lang="en-US" dirty="0" smtClean="0">
              <a:ea typeface="ＭＳ Ｐゴシック" pitchFamily="34" charset="-128"/>
            </a:endParaRPr>
          </a:p>
          <a:p>
            <a:pPr>
              <a:buClr>
                <a:schemeClr val="accent2"/>
              </a:buClr>
            </a:pPr>
            <a:endParaRPr lang="en-US" dirty="0" smtClean="0">
              <a:ea typeface="ＭＳ Ｐゴシック" pitchFamily="34" charset="-128"/>
            </a:endParaRPr>
          </a:p>
        </p:txBody>
      </p:sp>
      <p:pic>
        <p:nvPicPr>
          <p:cNvPr id="13316" name="Content Placeholder 5" descr="_MG_0347.jpg"/>
          <p:cNvPicPr>
            <a:picLocks noGrp="1" noChangeAspect="1"/>
          </p:cNvPicPr>
          <p:nvPr>
            <p:ph sz="half" idx="2"/>
          </p:nvPr>
        </p:nvPicPr>
        <p:blipFill>
          <a:blip r:embed="rId3" cstate="print"/>
          <a:srcRect l="17487" t="9836" r="23497"/>
          <a:stretch>
            <a:fillRect/>
          </a:stretch>
        </p:blipFill>
        <p:spPr>
          <a:xfrm>
            <a:off x="4572000" y="1600200"/>
            <a:ext cx="4114800" cy="4191000"/>
          </a:xfrm>
        </p:spPr>
      </p:pic>
      <p:sp>
        <p:nvSpPr>
          <p:cNvPr id="7" name="Kombinationstegning 9"/>
          <p:cNvSpPr/>
          <p:nvPr/>
        </p:nvSpPr>
        <p:spPr bwMode="white">
          <a:xfrm>
            <a:off x="4221163" y="5562600"/>
            <a:ext cx="584200" cy="574675"/>
          </a:xfrm>
          <a:custGeom>
            <a:avLst/>
            <a:gdLst>
              <a:gd name="connsiteX0" fmla="*/ 0 w 1368152"/>
              <a:gd name="connsiteY0" fmla="*/ 228030 h 1368152"/>
              <a:gd name="connsiteX1" fmla="*/ 228030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8" fmla="*/ 0 w 1368152"/>
              <a:gd name="connsiteY8" fmla="*/ 228030 h 1368152"/>
              <a:gd name="connsiteX0" fmla="*/ 0 w 1368152"/>
              <a:gd name="connsiteY0" fmla="*/ 1140122 h 1368152"/>
              <a:gd name="connsiteX1" fmla="*/ 228030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0" fmla="*/ 0 w 1368152"/>
              <a:gd name="connsiteY0" fmla="*/ 1140122 h 1368152"/>
              <a:gd name="connsiteX1" fmla="*/ 792088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0" fmla="*/ 58006 w 1198128"/>
              <a:gd name="connsiteY0" fmla="*/ 1368152 h 1368152"/>
              <a:gd name="connsiteX1" fmla="*/ 622064 w 1198128"/>
              <a:gd name="connsiteY1" fmla="*/ 0 h 1368152"/>
              <a:gd name="connsiteX2" fmla="*/ 970098 w 1198128"/>
              <a:gd name="connsiteY2" fmla="*/ 0 h 1368152"/>
              <a:gd name="connsiteX3" fmla="*/ 1198128 w 1198128"/>
              <a:gd name="connsiteY3" fmla="*/ 228030 h 1368152"/>
              <a:gd name="connsiteX4" fmla="*/ 1198128 w 1198128"/>
              <a:gd name="connsiteY4" fmla="*/ 1140122 h 1368152"/>
              <a:gd name="connsiteX5" fmla="*/ 970098 w 1198128"/>
              <a:gd name="connsiteY5" fmla="*/ 1368152 h 1368152"/>
              <a:gd name="connsiteX6" fmla="*/ 58006 w 1198128"/>
              <a:gd name="connsiteY6" fmla="*/ 1368152 h 1368152"/>
              <a:gd name="connsiteX0" fmla="*/ 348034 w 576064"/>
              <a:gd name="connsiteY0" fmla="*/ 1368152 h 1368152"/>
              <a:gd name="connsiteX1" fmla="*/ 0 w 576064"/>
              <a:gd name="connsiteY1" fmla="*/ 0 h 1368152"/>
              <a:gd name="connsiteX2" fmla="*/ 348034 w 576064"/>
              <a:gd name="connsiteY2" fmla="*/ 0 h 1368152"/>
              <a:gd name="connsiteX3" fmla="*/ 576064 w 576064"/>
              <a:gd name="connsiteY3" fmla="*/ 228030 h 1368152"/>
              <a:gd name="connsiteX4" fmla="*/ 576064 w 576064"/>
              <a:gd name="connsiteY4" fmla="*/ 1140122 h 1368152"/>
              <a:gd name="connsiteX5" fmla="*/ 348034 w 576064"/>
              <a:gd name="connsiteY5" fmla="*/ 1368152 h 1368152"/>
              <a:gd name="connsiteX0" fmla="*/ 348034 w 576064"/>
              <a:gd name="connsiteY0" fmla="*/ 1368152 h 1368152"/>
              <a:gd name="connsiteX1" fmla="*/ 0 w 576064"/>
              <a:gd name="connsiteY1" fmla="*/ 0 h 1368152"/>
              <a:gd name="connsiteX2" fmla="*/ 348034 w 576064"/>
              <a:gd name="connsiteY2" fmla="*/ 0 h 1368152"/>
              <a:gd name="connsiteX3" fmla="*/ 576064 w 576064"/>
              <a:gd name="connsiteY3" fmla="*/ 228030 h 1368152"/>
              <a:gd name="connsiteX4" fmla="*/ 576064 w 576064"/>
              <a:gd name="connsiteY4" fmla="*/ 576064 h 1368152"/>
              <a:gd name="connsiteX5" fmla="*/ 348034 w 576064"/>
              <a:gd name="connsiteY5" fmla="*/ 1368152 h 1368152"/>
              <a:gd name="connsiteX0" fmla="*/ 0 w 576064"/>
              <a:gd name="connsiteY0" fmla="*/ 648072 h 648072"/>
              <a:gd name="connsiteX1" fmla="*/ 0 w 576064"/>
              <a:gd name="connsiteY1" fmla="*/ 0 h 648072"/>
              <a:gd name="connsiteX2" fmla="*/ 348034 w 576064"/>
              <a:gd name="connsiteY2" fmla="*/ 0 h 648072"/>
              <a:gd name="connsiteX3" fmla="*/ 576064 w 576064"/>
              <a:gd name="connsiteY3" fmla="*/ 228030 h 648072"/>
              <a:gd name="connsiteX4" fmla="*/ 576064 w 576064"/>
              <a:gd name="connsiteY4" fmla="*/ 576064 h 648072"/>
              <a:gd name="connsiteX5" fmla="*/ 0 w 576064"/>
              <a:gd name="connsiteY5" fmla="*/ 648072 h 648072"/>
              <a:gd name="connsiteX0" fmla="*/ 1182 w 577246"/>
              <a:gd name="connsiteY0" fmla="*/ 648072 h 665362"/>
              <a:gd name="connsiteX1" fmla="*/ 1182 w 577246"/>
              <a:gd name="connsiteY1" fmla="*/ 0 h 665362"/>
              <a:gd name="connsiteX2" fmla="*/ 349216 w 577246"/>
              <a:gd name="connsiteY2" fmla="*/ 0 h 665362"/>
              <a:gd name="connsiteX3" fmla="*/ 577246 w 577246"/>
              <a:gd name="connsiteY3" fmla="*/ 228030 h 665362"/>
              <a:gd name="connsiteX4" fmla="*/ 577246 w 577246"/>
              <a:gd name="connsiteY4" fmla="*/ 576064 h 665362"/>
              <a:gd name="connsiteX5" fmla="*/ 1182 w 577246"/>
              <a:gd name="connsiteY5" fmla="*/ 648072 h 665362"/>
              <a:gd name="connsiteX0" fmla="*/ 1182 w 577246"/>
              <a:gd name="connsiteY0" fmla="*/ 648072 h 665362"/>
              <a:gd name="connsiteX1" fmla="*/ 1182 w 577246"/>
              <a:gd name="connsiteY1" fmla="*/ 0 h 665362"/>
              <a:gd name="connsiteX2" fmla="*/ 349216 w 577246"/>
              <a:gd name="connsiteY2" fmla="*/ 0 h 665362"/>
              <a:gd name="connsiteX3" fmla="*/ 577246 w 577246"/>
              <a:gd name="connsiteY3" fmla="*/ 228030 h 665362"/>
              <a:gd name="connsiteX4" fmla="*/ 577246 w 577246"/>
              <a:gd name="connsiteY4" fmla="*/ 576064 h 665362"/>
              <a:gd name="connsiteX5" fmla="*/ 1182 w 577246"/>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1182 w 1081302"/>
              <a:gd name="connsiteY0" fmla="*/ 576064 h 593354"/>
              <a:gd name="connsiteX1" fmla="*/ 505238 w 1081302"/>
              <a:gd name="connsiteY1" fmla="*/ 0 h 593354"/>
              <a:gd name="connsiteX2" fmla="*/ 853272 w 1081302"/>
              <a:gd name="connsiteY2" fmla="*/ 0 h 593354"/>
              <a:gd name="connsiteX3" fmla="*/ 1081302 w 1081302"/>
              <a:gd name="connsiteY3" fmla="*/ 228030 h 593354"/>
              <a:gd name="connsiteX4" fmla="*/ 1081302 w 1081302"/>
              <a:gd name="connsiteY4" fmla="*/ 576064 h 593354"/>
              <a:gd name="connsiteX5" fmla="*/ 1182 w 1081302"/>
              <a:gd name="connsiteY5" fmla="*/ 576064 h 593354"/>
              <a:gd name="connsiteX0" fmla="*/ 1182 w 649254"/>
              <a:gd name="connsiteY0" fmla="*/ 936104 h 953394"/>
              <a:gd name="connsiteX1" fmla="*/ 73190 w 649254"/>
              <a:gd name="connsiteY1" fmla="*/ 0 h 953394"/>
              <a:gd name="connsiteX2" fmla="*/ 421224 w 649254"/>
              <a:gd name="connsiteY2" fmla="*/ 0 h 953394"/>
              <a:gd name="connsiteX3" fmla="*/ 649254 w 649254"/>
              <a:gd name="connsiteY3" fmla="*/ 228030 h 953394"/>
              <a:gd name="connsiteX4" fmla="*/ 649254 w 649254"/>
              <a:gd name="connsiteY4" fmla="*/ 576064 h 953394"/>
              <a:gd name="connsiteX5" fmla="*/ 1182 w 649254"/>
              <a:gd name="connsiteY5" fmla="*/ 936104 h 953394"/>
              <a:gd name="connsiteX0" fmla="*/ 1182 w 865278"/>
              <a:gd name="connsiteY0" fmla="*/ 792088 h 809378"/>
              <a:gd name="connsiteX1" fmla="*/ 289214 w 865278"/>
              <a:gd name="connsiteY1" fmla="*/ 0 h 809378"/>
              <a:gd name="connsiteX2" fmla="*/ 637248 w 865278"/>
              <a:gd name="connsiteY2" fmla="*/ 0 h 809378"/>
              <a:gd name="connsiteX3" fmla="*/ 865278 w 865278"/>
              <a:gd name="connsiteY3" fmla="*/ 228030 h 809378"/>
              <a:gd name="connsiteX4" fmla="*/ 865278 w 865278"/>
              <a:gd name="connsiteY4" fmla="*/ 576064 h 809378"/>
              <a:gd name="connsiteX5" fmla="*/ 1182 w 865278"/>
              <a:gd name="connsiteY5" fmla="*/ 792088 h 809378"/>
              <a:gd name="connsiteX0" fmla="*/ 0 w 864096"/>
              <a:gd name="connsiteY0" fmla="*/ 792088 h 1227997"/>
              <a:gd name="connsiteX1" fmla="*/ 288032 w 864096"/>
              <a:gd name="connsiteY1" fmla="*/ 0 h 1227997"/>
              <a:gd name="connsiteX2" fmla="*/ 636066 w 864096"/>
              <a:gd name="connsiteY2" fmla="*/ 0 h 1227997"/>
              <a:gd name="connsiteX3" fmla="*/ 864096 w 864096"/>
              <a:gd name="connsiteY3" fmla="*/ 228030 h 1227997"/>
              <a:gd name="connsiteX4" fmla="*/ 864096 w 864096"/>
              <a:gd name="connsiteY4" fmla="*/ 576064 h 1227997"/>
              <a:gd name="connsiteX5" fmla="*/ 0 w 864096"/>
              <a:gd name="connsiteY5" fmla="*/ 792088 h 1227997"/>
              <a:gd name="connsiteX0" fmla="*/ 200165 w 1064261"/>
              <a:gd name="connsiteY0" fmla="*/ 792088 h 1227997"/>
              <a:gd name="connsiteX1" fmla="*/ 488197 w 1064261"/>
              <a:gd name="connsiteY1" fmla="*/ 0 h 1227997"/>
              <a:gd name="connsiteX2" fmla="*/ 836231 w 1064261"/>
              <a:gd name="connsiteY2" fmla="*/ 0 h 1227997"/>
              <a:gd name="connsiteX3" fmla="*/ 1064261 w 1064261"/>
              <a:gd name="connsiteY3" fmla="*/ 228030 h 1227997"/>
              <a:gd name="connsiteX4" fmla="*/ 1064261 w 1064261"/>
              <a:gd name="connsiteY4" fmla="*/ 576064 h 1227997"/>
              <a:gd name="connsiteX5" fmla="*/ 200165 w 1064261"/>
              <a:gd name="connsiteY5" fmla="*/ 792088 h 1227997"/>
              <a:gd name="connsiteX0" fmla="*/ 200165 w 1064261"/>
              <a:gd name="connsiteY0" fmla="*/ 792088 h 1227997"/>
              <a:gd name="connsiteX1" fmla="*/ 488197 w 1064261"/>
              <a:gd name="connsiteY1" fmla="*/ 0 h 1227997"/>
              <a:gd name="connsiteX2" fmla="*/ 836231 w 1064261"/>
              <a:gd name="connsiteY2" fmla="*/ 0 h 1227997"/>
              <a:gd name="connsiteX3" fmla="*/ 1064261 w 1064261"/>
              <a:gd name="connsiteY3" fmla="*/ 228030 h 1227997"/>
              <a:gd name="connsiteX4" fmla="*/ 1064261 w 1064261"/>
              <a:gd name="connsiteY4" fmla="*/ 576064 h 1227997"/>
              <a:gd name="connsiteX5" fmla="*/ 200165 w 1064261"/>
              <a:gd name="connsiteY5" fmla="*/ 792088 h 1227997"/>
              <a:gd name="connsiteX0" fmla="*/ 200165 w 1064261"/>
              <a:gd name="connsiteY0" fmla="*/ 792088 h 1265492"/>
              <a:gd name="connsiteX1" fmla="*/ 488197 w 1064261"/>
              <a:gd name="connsiteY1" fmla="*/ 0 h 1265492"/>
              <a:gd name="connsiteX2" fmla="*/ 836231 w 1064261"/>
              <a:gd name="connsiteY2" fmla="*/ 0 h 1265492"/>
              <a:gd name="connsiteX3" fmla="*/ 1064261 w 1064261"/>
              <a:gd name="connsiteY3" fmla="*/ 228030 h 1265492"/>
              <a:gd name="connsiteX4" fmla="*/ 1064261 w 1064261"/>
              <a:gd name="connsiteY4" fmla="*/ 576064 h 1265492"/>
              <a:gd name="connsiteX5" fmla="*/ 200165 w 1064261"/>
              <a:gd name="connsiteY5" fmla="*/ 792088 h 1265492"/>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576064"/>
              <a:gd name="connsiteX1" fmla="*/ 200164 w 776228"/>
              <a:gd name="connsiteY1" fmla="*/ 0 h 576064"/>
              <a:gd name="connsiteX2" fmla="*/ 548198 w 776228"/>
              <a:gd name="connsiteY2" fmla="*/ 0 h 576064"/>
              <a:gd name="connsiteX3" fmla="*/ 776228 w 776228"/>
              <a:gd name="connsiteY3" fmla="*/ 228030 h 576064"/>
              <a:gd name="connsiteX4" fmla="*/ 776228 w 776228"/>
              <a:gd name="connsiteY4" fmla="*/ 576064 h 576064"/>
              <a:gd name="connsiteX5" fmla="*/ 200165 w 776228"/>
              <a:gd name="connsiteY5" fmla="*/ 576063 h 576064"/>
              <a:gd name="connsiteX0" fmla="*/ 58007 w 634070"/>
              <a:gd name="connsiteY0" fmla="*/ 576063 h 586290"/>
              <a:gd name="connsiteX1" fmla="*/ 58006 w 634070"/>
              <a:gd name="connsiteY1" fmla="*/ 0 h 586290"/>
              <a:gd name="connsiteX2" fmla="*/ 406040 w 634070"/>
              <a:gd name="connsiteY2" fmla="*/ 0 h 586290"/>
              <a:gd name="connsiteX3" fmla="*/ 634070 w 634070"/>
              <a:gd name="connsiteY3" fmla="*/ 228030 h 586290"/>
              <a:gd name="connsiteX4" fmla="*/ 634070 w 634070"/>
              <a:gd name="connsiteY4" fmla="*/ 576064 h 586290"/>
              <a:gd name="connsiteX5" fmla="*/ 58007 w 634070"/>
              <a:gd name="connsiteY5" fmla="*/ 576063 h 586290"/>
              <a:gd name="connsiteX0" fmla="*/ 0 w 1008112"/>
              <a:gd name="connsiteY0" fmla="*/ 576064 h 586291"/>
              <a:gd name="connsiteX1" fmla="*/ 432048 w 1008112"/>
              <a:gd name="connsiteY1" fmla="*/ 0 h 586291"/>
              <a:gd name="connsiteX2" fmla="*/ 780082 w 1008112"/>
              <a:gd name="connsiteY2" fmla="*/ 0 h 586291"/>
              <a:gd name="connsiteX3" fmla="*/ 1008112 w 1008112"/>
              <a:gd name="connsiteY3" fmla="*/ 228030 h 586291"/>
              <a:gd name="connsiteX4" fmla="*/ 1008112 w 1008112"/>
              <a:gd name="connsiteY4" fmla="*/ 576064 h 586291"/>
              <a:gd name="connsiteX5" fmla="*/ 0 w 1008112"/>
              <a:gd name="connsiteY5" fmla="*/ 576064 h 586291"/>
              <a:gd name="connsiteX0" fmla="*/ 0 w 1440160"/>
              <a:gd name="connsiteY0" fmla="*/ 720080 h 730307"/>
              <a:gd name="connsiteX1" fmla="*/ 864096 w 1440160"/>
              <a:gd name="connsiteY1" fmla="*/ 0 h 730307"/>
              <a:gd name="connsiteX2" fmla="*/ 1212130 w 1440160"/>
              <a:gd name="connsiteY2" fmla="*/ 0 h 730307"/>
              <a:gd name="connsiteX3" fmla="*/ 1440160 w 1440160"/>
              <a:gd name="connsiteY3" fmla="*/ 228030 h 730307"/>
              <a:gd name="connsiteX4" fmla="*/ 1440160 w 1440160"/>
              <a:gd name="connsiteY4" fmla="*/ 576064 h 730307"/>
              <a:gd name="connsiteX5" fmla="*/ 0 w 1440160"/>
              <a:gd name="connsiteY5" fmla="*/ 720080 h 730307"/>
              <a:gd name="connsiteX0" fmla="*/ 0 w 1440160"/>
              <a:gd name="connsiteY0" fmla="*/ 720080 h 720080"/>
              <a:gd name="connsiteX1" fmla="*/ 864096 w 1440160"/>
              <a:gd name="connsiteY1" fmla="*/ 0 h 720080"/>
              <a:gd name="connsiteX2" fmla="*/ 1212130 w 1440160"/>
              <a:gd name="connsiteY2" fmla="*/ 0 h 720080"/>
              <a:gd name="connsiteX3" fmla="*/ 1440160 w 1440160"/>
              <a:gd name="connsiteY3" fmla="*/ 228030 h 720080"/>
              <a:gd name="connsiteX4" fmla="*/ 1440160 w 1440160"/>
              <a:gd name="connsiteY4" fmla="*/ 576064 h 720080"/>
              <a:gd name="connsiteX5" fmla="*/ 0 w 1440160"/>
              <a:gd name="connsiteY5" fmla="*/ 720080 h 720080"/>
              <a:gd name="connsiteX0" fmla="*/ 0 w 862092"/>
              <a:gd name="connsiteY0" fmla="*/ 715763 h 715763"/>
              <a:gd name="connsiteX1" fmla="*/ 72008 w 862092"/>
              <a:gd name="connsiteY1" fmla="*/ 139699 h 715763"/>
              <a:gd name="connsiteX2" fmla="*/ 420042 w 862092"/>
              <a:gd name="connsiteY2" fmla="*/ 139699 h 715763"/>
              <a:gd name="connsiteX3" fmla="*/ 648072 w 862092"/>
              <a:gd name="connsiteY3" fmla="*/ 367729 h 715763"/>
              <a:gd name="connsiteX4" fmla="*/ 648072 w 862092"/>
              <a:gd name="connsiteY4" fmla="*/ 715763 h 715763"/>
              <a:gd name="connsiteX5" fmla="*/ 0 w 862092"/>
              <a:gd name="connsiteY5" fmla="*/ 715763 h 715763"/>
              <a:gd name="connsiteX0" fmla="*/ 8670 w 656742"/>
              <a:gd name="connsiteY0" fmla="*/ 576064 h 576064"/>
              <a:gd name="connsiteX1" fmla="*/ 80678 w 656742"/>
              <a:gd name="connsiteY1" fmla="*/ 0 h 576064"/>
              <a:gd name="connsiteX2" fmla="*/ 428712 w 656742"/>
              <a:gd name="connsiteY2" fmla="*/ 0 h 576064"/>
              <a:gd name="connsiteX3" fmla="*/ 656742 w 656742"/>
              <a:gd name="connsiteY3" fmla="*/ 228030 h 576064"/>
              <a:gd name="connsiteX4" fmla="*/ 656742 w 656742"/>
              <a:gd name="connsiteY4" fmla="*/ 576064 h 576064"/>
              <a:gd name="connsiteX5" fmla="*/ 8670 w 656742"/>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8670 w 584734"/>
              <a:gd name="connsiteY0" fmla="*/ 576064 h 576064"/>
              <a:gd name="connsiteX1" fmla="*/ 8670 w 584734"/>
              <a:gd name="connsiteY1" fmla="*/ 0 h 576064"/>
              <a:gd name="connsiteX2" fmla="*/ 356704 w 584734"/>
              <a:gd name="connsiteY2" fmla="*/ 0 h 576064"/>
              <a:gd name="connsiteX3" fmla="*/ 584734 w 584734"/>
              <a:gd name="connsiteY3" fmla="*/ 228030 h 576064"/>
              <a:gd name="connsiteX4" fmla="*/ 584734 w 584734"/>
              <a:gd name="connsiteY4" fmla="*/ 576064 h 576064"/>
              <a:gd name="connsiteX5" fmla="*/ 8670 w 584734"/>
              <a:gd name="connsiteY5" fmla="*/ 576064 h 5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734" h="576064">
                <a:moveTo>
                  <a:pt x="8670" y="576064"/>
                </a:moveTo>
                <a:cubicBezTo>
                  <a:pt x="0" y="574110"/>
                  <a:pt x="13740" y="140848"/>
                  <a:pt x="8670" y="0"/>
                </a:cubicBezTo>
                <a:lnTo>
                  <a:pt x="356704" y="0"/>
                </a:lnTo>
                <a:cubicBezTo>
                  <a:pt x="356704" y="125937"/>
                  <a:pt x="458796" y="228030"/>
                  <a:pt x="584734" y="228030"/>
                </a:cubicBezTo>
                <a:lnTo>
                  <a:pt x="584734" y="576064"/>
                </a:lnTo>
                <a:lnTo>
                  <a:pt x="8670" y="57606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a-DK">
                <a:solidFill>
                  <a:srgbClr val="FFFFFF"/>
                </a:solidFill>
                <a:cs typeface="Arial" charset="0"/>
              </a:rPr>
              <a:t>ç</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6565">
                                            <p:txEl>
                                              <p:pRg st="0" end="0"/>
                                            </p:txEl>
                                          </p:spTgt>
                                        </p:tgtEl>
                                        <p:attrNameLst>
                                          <p:attrName>style.visibility</p:attrName>
                                        </p:attrNameLst>
                                      </p:cBhvr>
                                      <p:to>
                                        <p:strVal val="visible"/>
                                      </p:to>
                                    </p:set>
                                    <p:animEffect transition="in" filter="fade">
                                      <p:cBhvr>
                                        <p:cTn id="7" dur="500"/>
                                        <p:tgtEl>
                                          <p:spTgt spid="6656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6565">
                                            <p:txEl>
                                              <p:pRg st="1" end="1"/>
                                            </p:txEl>
                                          </p:spTgt>
                                        </p:tgtEl>
                                        <p:attrNameLst>
                                          <p:attrName>style.visibility</p:attrName>
                                        </p:attrNameLst>
                                      </p:cBhvr>
                                      <p:to>
                                        <p:strVal val="visible"/>
                                      </p:to>
                                    </p:set>
                                    <p:animEffect transition="in" filter="fade">
                                      <p:cBhvr>
                                        <p:cTn id="12" dur="500"/>
                                        <p:tgtEl>
                                          <p:spTgt spid="6656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6565">
                                            <p:txEl>
                                              <p:pRg st="2" end="2"/>
                                            </p:txEl>
                                          </p:spTgt>
                                        </p:tgtEl>
                                        <p:attrNameLst>
                                          <p:attrName>style.visibility</p:attrName>
                                        </p:attrNameLst>
                                      </p:cBhvr>
                                      <p:to>
                                        <p:strVal val="visible"/>
                                      </p:to>
                                    </p:set>
                                    <p:animEffect transition="in" filter="fade">
                                      <p:cBhvr>
                                        <p:cTn id="17" dur="500"/>
                                        <p:tgtEl>
                                          <p:spTgt spid="6656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6565">
                                            <p:txEl>
                                              <p:pRg st="3" end="3"/>
                                            </p:txEl>
                                          </p:spTgt>
                                        </p:tgtEl>
                                        <p:attrNameLst>
                                          <p:attrName>style.visibility</p:attrName>
                                        </p:attrNameLst>
                                      </p:cBhvr>
                                      <p:to>
                                        <p:strVal val="visible"/>
                                      </p:to>
                                    </p:set>
                                    <p:animEffect transition="in" filter="fade">
                                      <p:cBhvr>
                                        <p:cTn id="22" dur="500"/>
                                        <p:tgtEl>
                                          <p:spTgt spid="6656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6565">
                                            <p:txEl>
                                              <p:pRg st="4" end="4"/>
                                            </p:txEl>
                                          </p:spTgt>
                                        </p:tgtEl>
                                        <p:attrNameLst>
                                          <p:attrName>style.visibility</p:attrName>
                                        </p:attrNameLst>
                                      </p:cBhvr>
                                      <p:to>
                                        <p:strVal val="visible"/>
                                      </p:to>
                                    </p:set>
                                    <p:animEffect transition="in" filter="fade">
                                      <p:cBhvr>
                                        <p:cTn id="27" dur="500"/>
                                        <p:tgtEl>
                                          <p:spTgt spid="6656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6565">
                                            <p:txEl>
                                              <p:pRg st="5" end="5"/>
                                            </p:txEl>
                                          </p:spTgt>
                                        </p:tgtEl>
                                        <p:attrNameLst>
                                          <p:attrName>style.visibility</p:attrName>
                                        </p:attrNameLst>
                                      </p:cBhvr>
                                      <p:to>
                                        <p:strVal val="visible"/>
                                      </p:to>
                                    </p:set>
                                    <p:animEffect transition="in" filter="fade">
                                      <p:cBhvr>
                                        <p:cTn id="32" dur="500"/>
                                        <p:tgtEl>
                                          <p:spTgt spid="6656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6565">
                                            <p:txEl>
                                              <p:pRg st="6" end="6"/>
                                            </p:txEl>
                                          </p:spTgt>
                                        </p:tgtEl>
                                        <p:attrNameLst>
                                          <p:attrName>style.visibility</p:attrName>
                                        </p:attrNameLst>
                                      </p:cBhvr>
                                      <p:to>
                                        <p:strVal val="visible"/>
                                      </p:to>
                                    </p:set>
                                    <p:animEffect transition="in" filter="fade">
                                      <p:cBhvr>
                                        <p:cTn id="37" dur="500"/>
                                        <p:tgtEl>
                                          <p:spTgt spid="6656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56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p:nvPr>
        </p:nvSpPr>
        <p:spPr>
          <a:xfrm>
            <a:off x="457200" y="177800"/>
            <a:ext cx="8458200" cy="857250"/>
          </a:xfrm>
        </p:spPr>
        <p:txBody>
          <a:bodyPr>
            <a:normAutofit/>
          </a:bodyPr>
          <a:lstStyle/>
          <a:p>
            <a:r>
              <a:rPr lang="en-GB" sz="2400" dirty="0" smtClean="0">
                <a:ea typeface="ＭＳ Ｐゴシック" pitchFamily="34" charset="-128"/>
              </a:rPr>
              <a:t>Damco Fresh Produce Direct </a:t>
            </a:r>
            <a:r>
              <a:rPr lang="es-CR" sz="2400" dirty="0" smtClean="0">
                <a:ea typeface="ＭＳ Ｐゴシック" pitchFamily="34" charset="-128"/>
              </a:rPr>
              <a:t>ayuda a optimizar la cadena Logistica mientras reduce el canal mayorista. </a:t>
            </a:r>
            <a:endParaRPr lang="es-CR" sz="2500" dirty="0" smtClean="0">
              <a:ea typeface="ＭＳ Ｐゴシック" pitchFamily="34" charset="-128"/>
            </a:endParaRPr>
          </a:p>
        </p:txBody>
      </p:sp>
      <p:sp>
        <p:nvSpPr>
          <p:cNvPr id="53" name="Rectangle 52"/>
          <p:cNvSpPr>
            <a:spLocks noChangeArrowheads="1"/>
          </p:cNvSpPr>
          <p:nvPr/>
        </p:nvSpPr>
        <p:spPr bwMode="auto">
          <a:xfrm>
            <a:off x="446088" y="5449888"/>
            <a:ext cx="8240712" cy="915987"/>
          </a:xfrm>
          <a:prstGeom prst="rect">
            <a:avLst/>
          </a:prstGeom>
          <a:noFill/>
          <a:ln w="9525">
            <a:noFill/>
            <a:miter lim="800000"/>
            <a:headEnd/>
            <a:tailEnd/>
          </a:ln>
        </p:spPr>
        <p:txBody>
          <a:bodyPr lIns="0">
            <a:spAutoFit/>
          </a:bodyPr>
          <a:lstStyle/>
          <a:p>
            <a:r>
              <a:rPr lang="en-US">
                <a:solidFill>
                  <a:srgbClr val="398FD1"/>
                </a:solidFill>
              </a:rPr>
              <a:t>Ensuring retailers can get highly perishable, high value, seasonal fresh produce all year round, reducing supply variation due to impact from weather and other natural disturbances.</a:t>
            </a:r>
          </a:p>
        </p:txBody>
      </p:sp>
      <p:grpSp>
        <p:nvGrpSpPr>
          <p:cNvPr id="17457" name="Group 49"/>
          <p:cNvGrpSpPr>
            <a:grpSpLocks/>
          </p:cNvGrpSpPr>
          <p:nvPr/>
        </p:nvGrpSpPr>
        <p:grpSpPr bwMode="auto">
          <a:xfrm>
            <a:off x="444500" y="3776663"/>
            <a:ext cx="8242300" cy="1385887"/>
            <a:chOff x="280" y="2379"/>
            <a:chExt cx="5192" cy="873"/>
          </a:xfrm>
        </p:grpSpPr>
        <p:pic>
          <p:nvPicPr>
            <p:cNvPr id="75" name="Picture 55" descr="16"/>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a:off x="1948" y="2969"/>
              <a:ext cx="449" cy="254"/>
            </a:xfrm>
            <a:prstGeom prst="rect">
              <a:avLst/>
            </a:prstGeom>
            <a:noFill/>
            <a:ln w="9525">
              <a:noFill/>
              <a:miter lim="800000"/>
              <a:headEnd/>
              <a:tailEnd/>
            </a:ln>
          </p:spPr>
        </p:pic>
        <p:pic>
          <p:nvPicPr>
            <p:cNvPr id="76" name="Picture 57"/>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3815" y="2945"/>
              <a:ext cx="283" cy="278"/>
            </a:xfrm>
            <a:prstGeom prst="rect">
              <a:avLst/>
            </a:prstGeom>
            <a:noFill/>
            <a:ln w="9525">
              <a:noFill/>
              <a:miter lim="800000"/>
              <a:headEnd/>
              <a:tailEnd/>
            </a:ln>
          </p:spPr>
        </p:pic>
        <p:pic>
          <p:nvPicPr>
            <p:cNvPr id="77" name="Picture 59" descr="15"/>
            <p:cNvPicPr>
              <a:picLocks noChangeAspect="1" noChangeArrowheads="1"/>
            </p:cNvPicPr>
            <p:nvPr/>
          </p:nvPicPr>
          <p:blipFill>
            <a:blip r:embed="rId5" cstate="print">
              <a:duotone>
                <a:schemeClr val="bg2">
                  <a:shade val="45000"/>
                  <a:satMod val="135000"/>
                </a:schemeClr>
                <a:prstClr val="white"/>
              </a:duotone>
            </a:blip>
            <a:srcRect/>
            <a:stretch>
              <a:fillRect/>
            </a:stretch>
          </p:blipFill>
          <p:spPr bwMode="auto">
            <a:xfrm>
              <a:off x="965" y="2995"/>
              <a:ext cx="405" cy="228"/>
            </a:xfrm>
            <a:prstGeom prst="rect">
              <a:avLst/>
            </a:prstGeom>
            <a:noFill/>
            <a:ln w="9525">
              <a:noFill/>
              <a:miter lim="800000"/>
              <a:headEnd/>
              <a:tailEnd/>
            </a:ln>
          </p:spPr>
        </p:pic>
        <p:sp>
          <p:nvSpPr>
            <p:cNvPr id="17440" name="Freeform 126"/>
            <p:cNvSpPr>
              <a:spLocks noChangeArrowheads="1"/>
            </p:cNvSpPr>
            <p:nvPr/>
          </p:nvSpPr>
          <p:spPr bwMode="auto">
            <a:xfrm>
              <a:off x="1590" y="2906"/>
              <a:ext cx="177" cy="316"/>
            </a:xfrm>
            <a:custGeom>
              <a:avLst/>
              <a:gdLst>
                <a:gd name="T0" fmla="*/ 0 w 333375"/>
                <a:gd name="T1" fmla="*/ 7720 h 628650"/>
                <a:gd name="T2" fmla="*/ 3810 w 333375"/>
                <a:gd name="T3" fmla="*/ 7779 h 628650"/>
                <a:gd name="T4" fmla="*/ 4010 w 333375"/>
                <a:gd name="T5" fmla="*/ 0 h 628650"/>
                <a:gd name="T6" fmla="*/ 13031 w 333375"/>
                <a:gd name="T7" fmla="*/ 59 h 628650"/>
                <a:gd name="T8" fmla="*/ 9824 w 333375"/>
                <a:gd name="T9" fmla="*/ 1473 h 628650"/>
                <a:gd name="T10" fmla="*/ 9824 w 333375"/>
                <a:gd name="T11" fmla="*/ 7779 h 628650"/>
                <a:gd name="T12" fmla="*/ 14034 w 333375"/>
                <a:gd name="T13" fmla="*/ 7779 h 628650"/>
                <a:gd name="T14" fmla="*/ 0 60000 65536"/>
                <a:gd name="T15" fmla="*/ 0 60000 65536"/>
                <a:gd name="T16" fmla="*/ 0 60000 65536"/>
                <a:gd name="T17" fmla="*/ 0 60000 65536"/>
                <a:gd name="T18" fmla="*/ 0 60000 65536"/>
                <a:gd name="T19" fmla="*/ 0 60000 65536"/>
                <a:gd name="T20" fmla="*/ 0 60000 65536"/>
                <a:gd name="T21" fmla="*/ 0 w 333375"/>
                <a:gd name="T22" fmla="*/ 0 h 628650"/>
                <a:gd name="T23" fmla="*/ 333375 w 333375"/>
                <a:gd name="T24" fmla="*/ 628650 h 6286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375" h="628650">
                  <a:moveTo>
                    <a:pt x="0" y="623888"/>
                  </a:moveTo>
                  <a:lnTo>
                    <a:pt x="90487" y="628650"/>
                  </a:lnTo>
                  <a:cubicBezTo>
                    <a:pt x="92075" y="419100"/>
                    <a:pt x="93662" y="209550"/>
                    <a:pt x="95250" y="0"/>
                  </a:cubicBezTo>
                  <a:lnTo>
                    <a:pt x="309562" y="4763"/>
                  </a:lnTo>
                  <a:lnTo>
                    <a:pt x="233362" y="119063"/>
                  </a:lnTo>
                  <a:lnTo>
                    <a:pt x="233362" y="628650"/>
                  </a:lnTo>
                  <a:lnTo>
                    <a:pt x="333375" y="628650"/>
                  </a:lnTo>
                </a:path>
              </a:pathLst>
            </a:custGeom>
            <a:noFill/>
            <a:ln w="28575">
              <a:solidFill>
                <a:srgbClr val="CCCCCC"/>
              </a:solidFill>
              <a:round/>
              <a:headEnd/>
              <a:tailEnd/>
            </a:ln>
          </p:spPr>
          <p:txBody>
            <a:bodyPr anchor="ctr"/>
            <a:lstStyle/>
            <a:p>
              <a:pPr algn="ctr"/>
              <a:endParaRPr lang="en-US">
                <a:solidFill>
                  <a:srgbClr val="231F20"/>
                </a:solidFill>
                <a:latin typeface="Verdana" pitchFamily="34" charset="0"/>
                <a:ea typeface="ＭＳ Ｐゴシック" pitchFamily="34" charset="-128"/>
              </a:endParaRPr>
            </a:p>
          </p:txBody>
        </p:sp>
        <p:sp>
          <p:nvSpPr>
            <p:cNvPr id="17441" name="Freeform 150"/>
            <p:cNvSpPr>
              <a:spLocks noChangeArrowheads="1"/>
            </p:cNvSpPr>
            <p:nvPr/>
          </p:nvSpPr>
          <p:spPr bwMode="auto">
            <a:xfrm flipH="1">
              <a:off x="2612" y="2905"/>
              <a:ext cx="177" cy="317"/>
            </a:xfrm>
            <a:custGeom>
              <a:avLst/>
              <a:gdLst>
                <a:gd name="T0" fmla="*/ 0 w 333375"/>
                <a:gd name="T1" fmla="*/ 8386 h 628650"/>
                <a:gd name="T2" fmla="*/ 3810 w 333375"/>
                <a:gd name="T3" fmla="*/ 8450 h 628650"/>
                <a:gd name="T4" fmla="*/ 4010 w 333375"/>
                <a:gd name="T5" fmla="*/ 0 h 628650"/>
                <a:gd name="T6" fmla="*/ 13031 w 333375"/>
                <a:gd name="T7" fmla="*/ 64 h 628650"/>
                <a:gd name="T8" fmla="*/ 9824 w 333375"/>
                <a:gd name="T9" fmla="*/ 1600 h 628650"/>
                <a:gd name="T10" fmla="*/ 9824 w 333375"/>
                <a:gd name="T11" fmla="*/ 8450 h 628650"/>
                <a:gd name="T12" fmla="*/ 14033 w 333375"/>
                <a:gd name="T13" fmla="*/ 8450 h 628650"/>
                <a:gd name="T14" fmla="*/ 0 60000 65536"/>
                <a:gd name="T15" fmla="*/ 0 60000 65536"/>
                <a:gd name="T16" fmla="*/ 0 60000 65536"/>
                <a:gd name="T17" fmla="*/ 0 60000 65536"/>
                <a:gd name="T18" fmla="*/ 0 60000 65536"/>
                <a:gd name="T19" fmla="*/ 0 60000 65536"/>
                <a:gd name="T20" fmla="*/ 0 60000 65536"/>
                <a:gd name="T21" fmla="*/ 0 w 333375"/>
                <a:gd name="T22" fmla="*/ 0 h 628650"/>
                <a:gd name="T23" fmla="*/ 333375 w 333375"/>
                <a:gd name="T24" fmla="*/ 628650 h 6286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375" h="628650">
                  <a:moveTo>
                    <a:pt x="0" y="623888"/>
                  </a:moveTo>
                  <a:lnTo>
                    <a:pt x="90487" y="628650"/>
                  </a:lnTo>
                  <a:cubicBezTo>
                    <a:pt x="92075" y="419100"/>
                    <a:pt x="93662" y="209550"/>
                    <a:pt x="95250" y="0"/>
                  </a:cubicBezTo>
                  <a:lnTo>
                    <a:pt x="309562" y="4763"/>
                  </a:lnTo>
                  <a:lnTo>
                    <a:pt x="233362" y="119063"/>
                  </a:lnTo>
                  <a:lnTo>
                    <a:pt x="233362" y="628650"/>
                  </a:lnTo>
                  <a:lnTo>
                    <a:pt x="333375" y="628650"/>
                  </a:lnTo>
                </a:path>
              </a:pathLst>
            </a:custGeom>
            <a:noFill/>
            <a:ln w="28575">
              <a:solidFill>
                <a:srgbClr val="CCCCCC"/>
              </a:solidFill>
              <a:round/>
              <a:headEnd/>
              <a:tailEnd/>
            </a:ln>
          </p:spPr>
          <p:txBody>
            <a:bodyPr anchor="ctr"/>
            <a:lstStyle/>
            <a:p>
              <a:pPr algn="ctr"/>
              <a:endParaRPr lang="en-US">
                <a:solidFill>
                  <a:srgbClr val="231F20"/>
                </a:solidFill>
                <a:latin typeface="Verdana" pitchFamily="34" charset="0"/>
                <a:ea typeface="ＭＳ Ｐゴシック" pitchFamily="34" charset="-128"/>
              </a:endParaRPr>
            </a:p>
          </p:txBody>
        </p:sp>
        <p:pic>
          <p:nvPicPr>
            <p:cNvPr id="84" name="Picture 59" descr="15"/>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3157" y="2995"/>
              <a:ext cx="404" cy="228"/>
            </a:xfrm>
            <a:prstGeom prst="rect">
              <a:avLst/>
            </a:prstGeom>
            <a:noFill/>
            <a:ln w="9525">
              <a:noFill/>
              <a:miter lim="800000"/>
              <a:headEnd/>
              <a:tailEnd/>
            </a:ln>
          </p:spPr>
        </p:pic>
        <p:pic>
          <p:nvPicPr>
            <p:cNvPr id="85" name="Picture 59" descr="15"/>
            <p:cNvPicPr>
              <a:picLocks noChangeAspect="1" noChangeArrowheads="1"/>
            </p:cNvPicPr>
            <p:nvPr/>
          </p:nvPicPr>
          <p:blipFill>
            <a:blip r:embed="rId7" cstate="print">
              <a:duotone>
                <a:schemeClr val="bg2">
                  <a:shade val="45000"/>
                  <a:satMod val="135000"/>
                </a:schemeClr>
                <a:prstClr val="white"/>
              </a:duotone>
            </a:blip>
            <a:srcRect/>
            <a:stretch>
              <a:fillRect/>
            </a:stretch>
          </p:blipFill>
          <p:spPr bwMode="auto">
            <a:xfrm>
              <a:off x="4352" y="2995"/>
              <a:ext cx="405" cy="228"/>
            </a:xfrm>
            <a:prstGeom prst="rect">
              <a:avLst/>
            </a:prstGeom>
            <a:noFill/>
            <a:ln w="9525">
              <a:noFill/>
              <a:miter lim="800000"/>
              <a:headEnd/>
              <a:tailEnd/>
            </a:ln>
          </p:spPr>
        </p:pic>
        <p:pic>
          <p:nvPicPr>
            <p:cNvPr id="88" name="Picture 243" descr="Airplane_sky blue"/>
            <p:cNvPicPr>
              <a:picLocks noChangeAspect="1" noChangeArrowheads="1"/>
            </p:cNvPicPr>
            <p:nvPr/>
          </p:nvPicPr>
          <p:blipFill>
            <a:blip r:embed="rId8" cstate="print">
              <a:duotone>
                <a:schemeClr val="bg2">
                  <a:shade val="45000"/>
                  <a:satMod val="135000"/>
                </a:schemeClr>
                <a:prstClr val="white"/>
              </a:duotone>
            </a:blip>
            <a:srcRect/>
            <a:stretch>
              <a:fillRect/>
            </a:stretch>
          </p:blipFill>
          <p:spPr bwMode="auto">
            <a:xfrm>
              <a:off x="1948" y="2715"/>
              <a:ext cx="433" cy="207"/>
            </a:xfrm>
            <a:prstGeom prst="rect">
              <a:avLst/>
            </a:prstGeom>
            <a:noFill/>
            <a:ln w="9525">
              <a:noFill/>
              <a:miter lim="800000"/>
              <a:headEnd/>
              <a:tailEnd/>
            </a:ln>
          </p:spPr>
        </p:pic>
        <p:pic>
          <p:nvPicPr>
            <p:cNvPr id="89" name="Picture 244" descr="Certificate_sky blue"/>
            <p:cNvPicPr>
              <a:picLocks noChangeAspect="1" noChangeArrowheads="1"/>
            </p:cNvPicPr>
            <p:nvPr/>
          </p:nvPicPr>
          <p:blipFill>
            <a:blip r:embed="rId9" cstate="print">
              <a:duotone>
                <a:schemeClr val="bg2">
                  <a:shade val="45000"/>
                  <a:satMod val="135000"/>
                </a:schemeClr>
                <a:prstClr val="white"/>
              </a:duotone>
            </a:blip>
            <a:srcRect/>
            <a:stretch>
              <a:fillRect/>
            </a:stretch>
          </p:blipFill>
          <p:spPr bwMode="auto">
            <a:xfrm>
              <a:off x="1422" y="2715"/>
              <a:ext cx="169" cy="254"/>
            </a:xfrm>
            <a:prstGeom prst="rect">
              <a:avLst/>
            </a:prstGeom>
            <a:noFill/>
            <a:ln w="9525">
              <a:noFill/>
              <a:miter lim="800000"/>
              <a:headEnd/>
              <a:tailEnd/>
            </a:ln>
          </p:spPr>
        </p:pic>
        <p:pic>
          <p:nvPicPr>
            <p:cNvPr id="90" name="Picture 244" descr="Certificate_sky blue"/>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2791" y="2715"/>
              <a:ext cx="168" cy="254"/>
            </a:xfrm>
            <a:prstGeom prst="rect">
              <a:avLst/>
            </a:prstGeom>
            <a:noFill/>
            <a:ln w="9525">
              <a:noFill/>
              <a:miter lim="800000"/>
              <a:headEnd/>
              <a:tailEnd/>
            </a:ln>
          </p:spPr>
        </p:pic>
        <p:sp>
          <p:nvSpPr>
            <p:cNvPr id="92" name="Rectangle 36"/>
            <p:cNvSpPr>
              <a:spLocks noChangeArrowheads="1"/>
            </p:cNvSpPr>
            <p:nvPr/>
          </p:nvSpPr>
          <p:spPr bwMode="auto">
            <a:xfrm>
              <a:off x="280" y="2620"/>
              <a:ext cx="604" cy="632"/>
            </a:xfrm>
            <a:prstGeom prst="rect">
              <a:avLst/>
            </a:prstGeom>
            <a:noFill/>
            <a:ln w="28575">
              <a:solidFill>
                <a:schemeClr val="accent4"/>
              </a:solidFill>
              <a:round/>
              <a:headEnd/>
              <a:tailEnd/>
            </a:ln>
          </p:spPr>
          <p:txBody>
            <a:bodyPr wrap="none" lIns="90000" tIns="46800" rIns="90000" bIns="46800"/>
            <a:lstStyle/>
            <a:p>
              <a:pPr>
                <a:defRPr/>
              </a:pPr>
              <a:endParaRPr lang="en-GB">
                <a:solidFill>
                  <a:srgbClr val="231F20"/>
                </a:solidFill>
                <a:latin typeface="Verdana" charset="0"/>
                <a:ea typeface="ＭＳ Ｐゴシック" charset="-128"/>
                <a:cs typeface="ＭＳ Ｐゴシック" charset="-128"/>
              </a:endParaRPr>
            </a:p>
          </p:txBody>
        </p:sp>
        <p:sp>
          <p:nvSpPr>
            <p:cNvPr id="93" name="TextBox 37"/>
            <p:cNvSpPr txBox="1">
              <a:spLocks noChangeArrowheads="1"/>
            </p:cNvSpPr>
            <p:nvPr/>
          </p:nvSpPr>
          <p:spPr bwMode="auto">
            <a:xfrm>
              <a:off x="280" y="2620"/>
              <a:ext cx="589" cy="288"/>
            </a:xfrm>
            <a:prstGeom prst="rect">
              <a:avLst/>
            </a:prstGeom>
            <a:noFill/>
            <a:ln w="9525">
              <a:noFill/>
              <a:miter lim="800000"/>
              <a:headEnd/>
              <a:tailEnd/>
            </a:ln>
          </p:spPr>
          <p:txBody>
            <a:bodyPr>
              <a:spAutoFit/>
            </a:bodyPr>
            <a:lstStyle/>
            <a:p>
              <a:r>
                <a:rPr lang="en-GB" sz="1200">
                  <a:solidFill>
                    <a:srgbClr val="3C5BA3"/>
                  </a:solidFill>
                  <a:latin typeface="Verdana" pitchFamily="34" charset="0"/>
                  <a:ea typeface="ＭＳ Ｐゴシック" pitchFamily="34" charset="-128"/>
                </a:rPr>
                <a:t>Grower’s control</a:t>
              </a:r>
            </a:p>
          </p:txBody>
        </p:sp>
        <p:sp>
          <p:nvSpPr>
            <p:cNvPr id="17449" name="TextBox 37"/>
            <p:cNvSpPr txBox="1">
              <a:spLocks noChangeArrowheads="1"/>
            </p:cNvSpPr>
            <p:nvPr/>
          </p:nvSpPr>
          <p:spPr bwMode="auto">
            <a:xfrm>
              <a:off x="288" y="2379"/>
              <a:ext cx="3295" cy="213"/>
            </a:xfrm>
            <a:prstGeom prst="rect">
              <a:avLst/>
            </a:prstGeom>
            <a:noFill/>
            <a:ln w="9525">
              <a:noFill/>
              <a:miter lim="800000"/>
              <a:headEnd/>
              <a:tailEnd/>
            </a:ln>
          </p:spPr>
          <p:txBody>
            <a:bodyPr lIns="0">
              <a:spAutoFit/>
            </a:bodyPr>
            <a:lstStyle/>
            <a:p>
              <a:r>
                <a:rPr lang="en-GB" sz="1600">
                  <a:solidFill>
                    <a:srgbClr val="333333"/>
                  </a:solidFill>
                  <a:latin typeface="Verdana" pitchFamily="34" charset="0"/>
                  <a:ea typeface="ＭＳ Ｐゴシック" pitchFamily="34" charset="-128"/>
                </a:rPr>
                <a:t>Retail (Optimize Logistics Direct from Farm)</a:t>
              </a:r>
            </a:p>
          </p:txBody>
        </p:sp>
        <p:sp>
          <p:nvSpPr>
            <p:cNvPr id="17450" name="Rectangle 38"/>
            <p:cNvSpPr>
              <a:spLocks noChangeArrowheads="1"/>
            </p:cNvSpPr>
            <p:nvPr/>
          </p:nvSpPr>
          <p:spPr bwMode="auto">
            <a:xfrm>
              <a:off x="884" y="2620"/>
              <a:ext cx="4588" cy="632"/>
            </a:xfrm>
            <a:prstGeom prst="rect">
              <a:avLst/>
            </a:prstGeom>
            <a:noFill/>
            <a:ln w="28575">
              <a:solidFill>
                <a:srgbClr val="37B551"/>
              </a:solidFill>
              <a:round/>
              <a:headEnd/>
              <a:tailEnd/>
            </a:ln>
          </p:spPr>
          <p:txBody>
            <a:bodyPr wrap="none" lIns="90000" tIns="46800" rIns="90000" bIns="46800"/>
            <a:lstStyle/>
            <a:p>
              <a:endParaRPr lang="en-GB">
                <a:solidFill>
                  <a:srgbClr val="EF4135"/>
                </a:solidFill>
                <a:latin typeface="Verdana" pitchFamily="34" charset="0"/>
                <a:ea typeface="ＭＳ Ｐゴシック" pitchFamily="34" charset="-128"/>
              </a:endParaRPr>
            </a:p>
          </p:txBody>
        </p:sp>
        <p:sp>
          <p:nvSpPr>
            <p:cNvPr id="17451" name="TextBox 39"/>
            <p:cNvSpPr txBox="1">
              <a:spLocks noChangeArrowheads="1"/>
            </p:cNvSpPr>
            <p:nvPr/>
          </p:nvSpPr>
          <p:spPr bwMode="auto">
            <a:xfrm>
              <a:off x="4867" y="2620"/>
              <a:ext cx="597" cy="288"/>
            </a:xfrm>
            <a:prstGeom prst="rect">
              <a:avLst/>
            </a:prstGeom>
            <a:noFill/>
            <a:ln w="9525">
              <a:noFill/>
              <a:miter lim="800000"/>
              <a:headEnd/>
              <a:tailEnd/>
            </a:ln>
          </p:spPr>
          <p:txBody>
            <a:bodyPr>
              <a:spAutoFit/>
            </a:bodyPr>
            <a:lstStyle/>
            <a:p>
              <a:r>
                <a:rPr lang="en-GB" sz="1200">
                  <a:solidFill>
                    <a:srgbClr val="37B551"/>
                  </a:solidFill>
                  <a:latin typeface="Verdana" pitchFamily="34" charset="0"/>
                  <a:ea typeface="ＭＳ Ｐゴシック" pitchFamily="34" charset="-128"/>
                </a:rPr>
                <a:t>Retailer’s control</a:t>
              </a:r>
            </a:p>
          </p:txBody>
        </p:sp>
        <p:pic>
          <p:nvPicPr>
            <p:cNvPr id="102" name="Picture 257" descr="Shop_sky blue"/>
            <p:cNvPicPr>
              <a:picLocks noChangeAspect="1" noChangeArrowheads="1"/>
            </p:cNvPicPr>
            <p:nvPr/>
          </p:nvPicPr>
          <p:blipFill>
            <a:blip r:embed="rId11" cstate="print">
              <a:duotone>
                <a:schemeClr val="bg2">
                  <a:shade val="45000"/>
                  <a:satMod val="135000"/>
                </a:schemeClr>
                <a:prstClr val="white"/>
              </a:duotone>
            </a:blip>
            <a:srcRect/>
            <a:stretch>
              <a:fillRect/>
            </a:stretch>
          </p:blipFill>
          <p:spPr bwMode="auto">
            <a:xfrm>
              <a:off x="382" y="2897"/>
              <a:ext cx="428" cy="326"/>
            </a:xfrm>
            <a:prstGeom prst="rect">
              <a:avLst/>
            </a:prstGeom>
            <a:noFill/>
            <a:ln w="9525">
              <a:noFill/>
              <a:miter lim="800000"/>
              <a:headEnd/>
              <a:tailEnd/>
            </a:ln>
          </p:spPr>
        </p:pic>
        <p:sp>
          <p:nvSpPr>
            <p:cNvPr id="103" name="Rectangle 258"/>
            <p:cNvSpPr>
              <a:spLocks noChangeArrowheads="1"/>
            </p:cNvSpPr>
            <p:nvPr/>
          </p:nvSpPr>
          <p:spPr bwMode="auto">
            <a:xfrm>
              <a:off x="468" y="2976"/>
              <a:ext cx="254" cy="94"/>
            </a:xfrm>
            <a:prstGeom prst="rect">
              <a:avLst/>
            </a:prstGeom>
            <a:solidFill>
              <a:srgbClr val="FFFFFF"/>
            </a:solidFill>
            <a:ln w="9525">
              <a:noFill/>
              <a:miter lim="800000"/>
              <a:headEnd/>
              <a:tailEnd/>
            </a:ln>
          </p:spPr>
          <p:txBody>
            <a:bodyPr wrap="none" lIns="90000" tIns="46800" rIns="90000" bIns="46800" anchor="ctr"/>
            <a:lstStyle/>
            <a:p>
              <a:pPr>
                <a:defRPr/>
              </a:pPr>
              <a:r>
                <a:rPr lang="en-GB" sz="800" dirty="0">
                  <a:solidFill>
                    <a:schemeClr val="bg2">
                      <a:lumMod val="50000"/>
                      <a:lumOff val="50000"/>
                    </a:schemeClr>
                  </a:solidFill>
                  <a:latin typeface="Verdana" charset="0"/>
                  <a:ea typeface="ＭＳ Ｐゴシック" charset="-128"/>
                  <a:cs typeface="ＭＳ Ｐゴシック" charset="-128"/>
                </a:rPr>
                <a:t>FARM</a:t>
              </a:r>
            </a:p>
          </p:txBody>
        </p:sp>
        <p:pic>
          <p:nvPicPr>
            <p:cNvPr id="101" name="Picture 257" descr="Shop_sky blue"/>
            <p:cNvPicPr>
              <a:picLocks noChangeAspect="1" noChangeArrowheads="1"/>
            </p:cNvPicPr>
            <p:nvPr/>
          </p:nvPicPr>
          <p:blipFill>
            <a:blip r:embed="rId12" cstate="print">
              <a:duotone>
                <a:schemeClr val="bg2">
                  <a:shade val="45000"/>
                  <a:satMod val="135000"/>
                </a:schemeClr>
                <a:prstClr val="white"/>
              </a:duotone>
            </a:blip>
            <a:srcRect/>
            <a:stretch>
              <a:fillRect/>
            </a:stretch>
          </p:blipFill>
          <p:spPr bwMode="auto">
            <a:xfrm>
              <a:off x="4944" y="2897"/>
              <a:ext cx="429" cy="326"/>
            </a:xfrm>
            <a:prstGeom prst="rect">
              <a:avLst/>
            </a:prstGeom>
            <a:noFill/>
            <a:ln w="9525">
              <a:noFill/>
              <a:miter lim="800000"/>
              <a:headEnd/>
              <a:tailEnd/>
            </a:ln>
          </p:spPr>
        </p:pic>
        <p:sp>
          <p:nvSpPr>
            <p:cNvPr id="104" name="Rectangle 258"/>
            <p:cNvSpPr>
              <a:spLocks noChangeArrowheads="1"/>
            </p:cNvSpPr>
            <p:nvPr/>
          </p:nvSpPr>
          <p:spPr bwMode="auto">
            <a:xfrm>
              <a:off x="5030" y="2976"/>
              <a:ext cx="254" cy="94"/>
            </a:xfrm>
            <a:prstGeom prst="rect">
              <a:avLst/>
            </a:prstGeom>
            <a:solidFill>
              <a:srgbClr val="FFFFFF"/>
            </a:solidFill>
            <a:ln w="9525">
              <a:noFill/>
              <a:miter lim="800000"/>
              <a:headEnd/>
              <a:tailEnd/>
            </a:ln>
          </p:spPr>
          <p:txBody>
            <a:bodyPr wrap="none" lIns="0" tIns="0" rIns="0" bIns="0" anchor="ctr"/>
            <a:lstStyle/>
            <a:p>
              <a:pPr algn="ctr">
                <a:defRPr/>
              </a:pPr>
              <a:r>
                <a:rPr lang="en-GB" sz="800" dirty="0">
                  <a:solidFill>
                    <a:schemeClr val="bg1">
                      <a:lumMod val="75000"/>
                    </a:schemeClr>
                  </a:solidFill>
                  <a:latin typeface="Verdana" charset="0"/>
                  <a:ea typeface="ＭＳ Ｐゴシック" charset="-128"/>
                  <a:cs typeface="ＭＳ Ｐゴシック" charset="-128"/>
                </a:rPr>
                <a:t>SHOP</a:t>
              </a:r>
            </a:p>
          </p:txBody>
        </p:sp>
      </p:grpSp>
      <p:sp>
        <p:nvSpPr>
          <p:cNvPr id="91" name="Down Arrow 60"/>
          <p:cNvSpPr>
            <a:spLocks noChangeArrowheads="1"/>
          </p:cNvSpPr>
          <p:nvPr/>
        </p:nvSpPr>
        <p:spPr bwMode="auto">
          <a:xfrm>
            <a:off x="4262438" y="3429000"/>
            <a:ext cx="641350" cy="357188"/>
          </a:xfrm>
          <a:prstGeom prst="downArrow">
            <a:avLst>
              <a:gd name="adj1" fmla="val 50000"/>
              <a:gd name="adj2" fmla="val 50000"/>
            </a:avLst>
          </a:prstGeom>
          <a:noFill/>
          <a:ln w="28575" cap="flat" cmpd="sng" algn="ctr">
            <a:solidFill>
              <a:schemeClr val="accent4"/>
            </a:solidFill>
            <a:prstDash val="solid"/>
            <a:round/>
            <a:headEnd type="none" w="med" len="med"/>
            <a:tailEnd type="none" w="med" len="med"/>
          </a:ln>
        </p:spPr>
        <p:txBody>
          <a:bodyPr wrap="none" lIns="90000" tIns="46800" rIns="90000" bIns="46800"/>
          <a:lstStyle/>
          <a:p>
            <a:pPr eaLnBrk="0" hangingPunct="0">
              <a:spcBef>
                <a:spcPct val="50000"/>
              </a:spcBef>
              <a:defRPr/>
            </a:pPr>
            <a:endParaRPr lang="en-US">
              <a:ea typeface="Arial" charset="0"/>
            </a:endParaRPr>
          </a:p>
        </p:txBody>
      </p:sp>
      <p:grpSp>
        <p:nvGrpSpPr>
          <p:cNvPr id="3" name="Group 49"/>
          <p:cNvGrpSpPr>
            <a:grpSpLocks/>
          </p:cNvGrpSpPr>
          <p:nvPr/>
        </p:nvGrpSpPr>
        <p:grpSpPr bwMode="auto">
          <a:xfrm>
            <a:off x="444500" y="1871663"/>
            <a:ext cx="8242300" cy="1385887"/>
            <a:chOff x="444500" y="1871246"/>
            <a:chExt cx="8242300" cy="1386292"/>
          </a:xfrm>
        </p:grpSpPr>
        <p:sp>
          <p:nvSpPr>
            <p:cNvPr id="57" name="Rectangle 36"/>
            <p:cNvSpPr>
              <a:spLocks noChangeArrowheads="1"/>
            </p:cNvSpPr>
            <p:nvPr/>
          </p:nvSpPr>
          <p:spPr bwMode="auto">
            <a:xfrm>
              <a:off x="444500" y="2255533"/>
              <a:ext cx="2497138" cy="1002005"/>
            </a:xfrm>
            <a:prstGeom prst="rect">
              <a:avLst/>
            </a:prstGeom>
            <a:noFill/>
            <a:ln w="28575">
              <a:solidFill>
                <a:schemeClr val="accent4"/>
              </a:solidFill>
              <a:round/>
              <a:headEnd/>
              <a:tailEnd/>
            </a:ln>
          </p:spPr>
          <p:txBody>
            <a:bodyPr wrap="none" lIns="90000" tIns="46800" rIns="90000" bIns="46800"/>
            <a:lstStyle/>
            <a:p>
              <a:pPr>
                <a:defRPr/>
              </a:pPr>
              <a:endParaRPr lang="en-GB" dirty="0">
                <a:solidFill>
                  <a:schemeClr val="accent4"/>
                </a:solidFill>
                <a:latin typeface="Verdana" charset="0"/>
                <a:ea typeface="ＭＳ Ｐゴシック" charset="-128"/>
                <a:cs typeface="ＭＳ Ｐゴシック" charset="-128"/>
              </a:endParaRPr>
            </a:p>
          </p:txBody>
        </p:sp>
        <p:sp>
          <p:nvSpPr>
            <p:cNvPr id="17415" name="TextBox 37"/>
            <p:cNvSpPr txBox="1">
              <a:spLocks noChangeArrowheads="1"/>
            </p:cNvSpPr>
            <p:nvPr/>
          </p:nvSpPr>
          <p:spPr bwMode="auto">
            <a:xfrm>
              <a:off x="444500" y="2254915"/>
              <a:ext cx="1087288" cy="461665"/>
            </a:xfrm>
            <a:prstGeom prst="rect">
              <a:avLst/>
            </a:prstGeom>
            <a:noFill/>
            <a:ln w="9525">
              <a:noFill/>
              <a:miter lim="800000"/>
              <a:headEnd/>
              <a:tailEnd/>
            </a:ln>
          </p:spPr>
          <p:txBody>
            <a:bodyPr>
              <a:spAutoFit/>
            </a:bodyPr>
            <a:lstStyle/>
            <a:p>
              <a:r>
                <a:rPr lang="en-GB" sz="1200">
                  <a:solidFill>
                    <a:srgbClr val="0060AF"/>
                  </a:solidFill>
                  <a:latin typeface="Verdana" pitchFamily="34" charset="0"/>
                  <a:ea typeface="ＭＳ Ｐゴシック" pitchFamily="34" charset="-128"/>
                </a:rPr>
                <a:t>Grower’s control</a:t>
              </a:r>
            </a:p>
          </p:txBody>
        </p:sp>
        <p:sp>
          <p:nvSpPr>
            <p:cNvPr id="17416" name="Rectangle 38"/>
            <p:cNvSpPr>
              <a:spLocks noChangeArrowheads="1"/>
            </p:cNvSpPr>
            <p:nvPr/>
          </p:nvSpPr>
          <p:spPr bwMode="auto">
            <a:xfrm>
              <a:off x="2942118" y="2254915"/>
              <a:ext cx="4779482" cy="1002623"/>
            </a:xfrm>
            <a:prstGeom prst="rect">
              <a:avLst/>
            </a:prstGeom>
            <a:noFill/>
            <a:ln w="28575">
              <a:solidFill>
                <a:srgbClr val="FF0000"/>
              </a:solidFill>
              <a:round/>
              <a:headEnd/>
              <a:tailEnd/>
            </a:ln>
          </p:spPr>
          <p:txBody>
            <a:bodyPr wrap="none" lIns="90000" tIns="46800" rIns="90000" bIns="46800"/>
            <a:lstStyle/>
            <a:p>
              <a:endParaRPr lang="en-GB">
                <a:solidFill>
                  <a:srgbClr val="EF4135"/>
                </a:solidFill>
                <a:latin typeface="Verdana" pitchFamily="34" charset="0"/>
                <a:ea typeface="ＭＳ Ｐゴシック" pitchFamily="34" charset="-128"/>
              </a:endParaRPr>
            </a:p>
          </p:txBody>
        </p:sp>
        <p:sp>
          <p:nvSpPr>
            <p:cNvPr id="60" name="TextBox 39"/>
            <p:cNvSpPr txBox="1">
              <a:spLocks noChangeArrowheads="1"/>
            </p:cNvSpPr>
            <p:nvPr/>
          </p:nvSpPr>
          <p:spPr bwMode="auto">
            <a:xfrm>
              <a:off x="5942013" y="2255533"/>
              <a:ext cx="1511300" cy="460510"/>
            </a:xfrm>
            <a:prstGeom prst="rect">
              <a:avLst/>
            </a:prstGeom>
            <a:noFill/>
            <a:ln w="9525">
              <a:noFill/>
              <a:miter lim="800000"/>
              <a:headEnd/>
              <a:tailEnd/>
            </a:ln>
          </p:spPr>
          <p:txBody>
            <a:bodyPr>
              <a:spAutoFit/>
            </a:bodyPr>
            <a:lstStyle/>
            <a:p>
              <a:r>
                <a:rPr lang="en-GB" sz="1200">
                  <a:solidFill>
                    <a:srgbClr val="636A70"/>
                  </a:solidFill>
                  <a:latin typeface="Verdana" pitchFamily="34" charset="0"/>
                  <a:ea typeface="ＭＳ Ｐゴシック" pitchFamily="34" charset="-128"/>
                </a:rPr>
                <a:t>Wholesaler’s control</a:t>
              </a:r>
            </a:p>
          </p:txBody>
        </p:sp>
        <p:pic>
          <p:nvPicPr>
            <p:cNvPr id="61" name="Picture 55" descr="16"/>
            <p:cNvPicPr>
              <a:picLocks noChangeAspect="1" noChangeArrowheads="1"/>
            </p:cNvPicPr>
            <p:nvPr/>
          </p:nvPicPr>
          <p:blipFill>
            <a:blip r:embed="rId13" cstate="print">
              <a:duotone>
                <a:schemeClr val="bg2">
                  <a:shade val="45000"/>
                  <a:satMod val="135000"/>
                </a:schemeClr>
                <a:prstClr val="white"/>
              </a:duotone>
            </a:blip>
            <a:srcRect/>
            <a:stretch>
              <a:fillRect/>
            </a:stretch>
          </p:blipFill>
          <p:spPr bwMode="auto">
            <a:xfrm>
              <a:off x="3092518" y="2811233"/>
              <a:ext cx="712976" cy="401744"/>
            </a:xfrm>
            <a:prstGeom prst="rect">
              <a:avLst/>
            </a:prstGeom>
            <a:noFill/>
            <a:ln w="9525">
              <a:noFill/>
              <a:miter lim="800000"/>
              <a:headEnd/>
              <a:tailEnd/>
            </a:ln>
          </p:spPr>
        </p:pic>
        <p:pic>
          <p:nvPicPr>
            <p:cNvPr id="63" name="Picture 59" descr="15"/>
            <p:cNvPicPr>
              <a:picLocks noChangeAspect="1" noChangeArrowheads="1"/>
            </p:cNvPicPr>
            <p:nvPr/>
          </p:nvPicPr>
          <p:blipFill>
            <a:blip r:embed="rId14" cstate="print">
              <a:duotone>
                <a:schemeClr val="bg2">
                  <a:shade val="45000"/>
                  <a:satMod val="135000"/>
                </a:schemeClr>
                <a:prstClr val="white"/>
              </a:duotone>
            </a:blip>
            <a:srcRect/>
            <a:stretch>
              <a:fillRect/>
            </a:stretch>
          </p:blipFill>
          <p:spPr bwMode="auto">
            <a:xfrm>
              <a:off x="1532018" y="2852614"/>
              <a:ext cx="641678" cy="360363"/>
            </a:xfrm>
            <a:prstGeom prst="rect">
              <a:avLst/>
            </a:prstGeom>
            <a:noFill/>
            <a:ln w="9525">
              <a:noFill/>
              <a:miter lim="800000"/>
              <a:headEnd/>
              <a:tailEnd/>
            </a:ln>
          </p:spPr>
        </p:pic>
        <p:sp>
          <p:nvSpPr>
            <p:cNvPr id="64" name="Freeform 126"/>
            <p:cNvSpPr>
              <a:spLocks noChangeArrowheads="1"/>
            </p:cNvSpPr>
            <p:nvPr/>
          </p:nvSpPr>
          <p:spPr bwMode="auto">
            <a:xfrm>
              <a:off x="2524125" y="2711278"/>
              <a:ext cx="280988" cy="501797"/>
            </a:xfrm>
            <a:custGeom>
              <a:avLst/>
              <a:gdLst>
                <a:gd name="T0" fmla="*/ 0 w 333375"/>
                <a:gd name="T1" fmla="*/ 15156 h 628650"/>
                <a:gd name="T2" fmla="*/ 6379 w 333375"/>
                <a:gd name="T3" fmla="*/ 15272 h 628650"/>
                <a:gd name="T4" fmla="*/ 6715 w 333375"/>
                <a:gd name="T5" fmla="*/ 0 h 628650"/>
                <a:gd name="T6" fmla="*/ 21823 w 333375"/>
                <a:gd name="T7" fmla="*/ 117 h 628650"/>
                <a:gd name="T8" fmla="*/ 16451 w 333375"/>
                <a:gd name="T9" fmla="*/ 2893 h 628650"/>
                <a:gd name="T10" fmla="*/ 16451 w 333375"/>
                <a:gd name="T11" fmla="*/ 15272 h 628650"/>
                <a:gd name="T12" fmla="*/ 23501 w 333375"/>
                <a:gd name="T13" fmla="*/ 15272 h 628650"/>
                <a:gd name="T14" fmla="*/ 0 60000 65536"/>
                <a:gd name="T15" fmla="*/ 0 60000 65536"/>
                <a:gd name="T16" fmla="*/ 0 60000 65536"/>
                <a:gd name="T17" fmla="*/ 0 60000 65536"/>
                <a:gd name="T18" fmla="*/ 0 60000 65536"/>
                <a:gd name="T19" fmla="*/ 0 60000 65536"/>
                <a:gd name="T20" fmla="*/ 0 60000 65536"/>
                <a:gd name="T21" fmla="*/ 0 w 333375"/>
                <a:gd name="T22" fmla="*/ 0 h 628650"/>
                <a:gd name="T23" fmla="*/ 333375 w 333375"/>
                <a:gd name="T24" fmla="*/ 628650 h 6286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375" h="628650">
                  <a:moveTo>
                    <a:pt x="0" y="623888"/>
                  </a:moveTo>
                  <a:lnTo>
                    <a:pt x="90487" y="628650"/>
                  </a:lnTo>
                  <a:cubicBezTo>
                    <a:pt x="92075" y="419100"/>
                    <a:pt x="93662" y="209550"/>
                    <a:pt x="95250" y="0"/>
                  </a:cubicBezTo>
                  <a:lnTo>
                    <a:pt x="309562" y="4763"/>
                  </a:lnTo>
                  <a:lnTo>
                    <a:pt x="233362" y="119063"/>
                  </a:lnTo>
                  <a:lnTo>
                    <a:pt x="233362" y="628650"/>
                  </a:lnTo>
                  <a:lnTo>
                    <a:pt x="333375" y="628650"/>
                  </a:lnTo>
                </a:path>
              </a:pathLst>
            </a:custGeom>
            <a:noFill/>
            <a:ln w="28575">
              <a:solidFill>
                <a:schemeClr val="bg2">
                  <a:lumMod val="50000"/>
                  <a:lumOff val="50000"/>
                </a:schemeClr>
              </a:solidFill>
              <a:round/>
              <a:headEnd/>
              <a:tailEnd/>
            </a:ln>
          </p:spPr>
          <p:txBody>
            <a:bodyPr anchor="ctr"/>
            <a:lstStyle/>
            <a:p>
              <a:pPr algn="ctr">
                <a:defRPr/>
              </a:pPr>
              <a:endParaRPr lang="da-DK">
                <a:solidFill>
                  <a:srgbClr val="231F20"/>
                </a:solidFill>
                <a:latin typeface="Verdana" charset="0"/>
                <a:ea typeface="ＭＳ Ｐゴシック" charset="-128"/>
                <a:cs typeface="ＭＳ Ｐゴシック" charset="-128"/>
              </a:endParaRPr>
            </a:p>
          </p:txBody>
        </p:sp>
        <p:sp>
          <p:nvSpPr>
            <p:cNvPr id="65" name="Freeform 150"/>
            <p:cNvSpPr>
              <a:spLocks noChangeArrowheads="1"/>
            </p:cNvSpPr>
            <p:nvPr/>
          </p:nvSpPr>
          <p:spPr bwMode="auto">
            <a:xfrm flipH="1">
              <a:off x="4146550" y="2709691"/>
              <a:ext cx="280988" cy="503384"/>
            </a:xfrm>
            <a:custGeom>
              <a:avLst/>
              <a:gdLst>
                <a:gd name="T0" fmla="*/ 0 w 333375"/>
                <a:gd name="T1" fmla="*/ 16318 h 628650"/>
                <a:gd name="T2" fmla="*/ 6379 w 333375"/>
                <a:gd name="T3" fmla="*/ 16442 h 628650"/>
                <a:gd name="T4" fmla="*/ 6715 w 333375"/>
                <a:gd name="T5" fmla="*/ 0 h 628650"/>
                <a:gd name="T6" fmla="*/ 21822 w 333375"/>
                <a:gd name="T7" fmla="*/ 125 h 628650"/>
                <a:gd name="T8" fmla="*/ 16450 w 333375"/>
                <a:gd name="T9" fmla="*/ 3113 h 628650"/>
                <a:gd name="T10" fmla="*/ 16450 w 333375"/>
                <a:gd name="T11" fmla="*/ 16442 h 628650"/>
                <a:gd name="T12" fmla="*/ 23500 w 333375"/>
                <a:gd name="T13" fmla="*/ 16442 h 628650"/>
                <a:gd name="T14" fmla="*/ 0 60000 65536"/>
                <a:gd name="T15" fmla="*/ 0 60000 65536"/>
                <a:gd name="T16" fmla="*/ 0 60000 65536"/>
                <a:gd name="T17" fmla="*/ 0 60000 65536"/>
                <a:gd name="T18" fmla="*/ 0 60000 65536"/>
                <a:gd name="T19" fmla="*/ 0 60000 65536"/>
                <a:gd name="T20" fmla="*/ 0 60000 65536"/>
                <a:gd name="T21" fmla="*/ 0 w 333375"/>
                <a:gd name="T22" fmla="*/ 0 h 628650"/>
                <a:gd name="T23" fmla="*/ 333375 w 333375"/>
                <a:gd name="T24" fmla="*/ 628650 h 6286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375" h="628650">
                  <a:moveTo>
                    <a:pt x="0" y="623888"/>
                  </a:moveTo>
                  <a:lnTo>
                    <a:pt x="90487" y="628650"/>
                  </a:lnTo>
                  <a:cubicBezTo>
                    <a:pt x="92075" y="419100"/>
                    <a:pt x="93662" y="209550"/>
                    <a:pt x="95250" y="0"/>
                  </a:cubicBezTo>
                  <a:lnTo>
                    <a:pt x="309562" y="4763"/>
                  </a:lnTo>
                  <a:lnTo>
                    <a:pt x="233362" y="119063"/>
                  </a:lnTo>
                  <a:lnTo>
                    <a:pt x="233362" y="628650"/>
                  </a:lnTo>
                  <a:lnTo>
                    <a:pt x="333375" y="628650"/>
                  </a:lnTo>
                </a:path>
              </a:pathLst>
            </a:custGeom>
            <a:noFill/>
            <a:ln w="28575">
              <a:solidFill>
                <a:schemeClr val="bg2">
                  <a:lumMod val="50000"/>
                  <a:lumOff val="50000"/>
                </a:schemeClr>
              </a:solidFill>
              <a:round/>
              <a:headEnd/>
              <a:tailEnd/>
            </a:ln>
          </p:spPr>
          <p:txBody>
            <a:bodyPr anchor="ctr"/>
            <a:lstStyle/>
            <a:p>
              <a:pPr algn="ctr">
                <a:defRPr/>
              </a:pPr>
              <a:endParaRPr lang="da-DK">
                <a:solidFill>
                  <a:srgbClr val="231F20"/>
                </a:solidFill>
                <a:latin typeface="Verdana" charset="0"/>
                <a:ea typeface="ＭＳ Ｐゴシック" charset="-128"/>
                <a:cs typeface="ＭＳ Ｐゴシック" charset="-128"/>
              </a:endParaRPr>
            </a:p>
          </p:txBody>
        </p:sp>
        <p:sp>
          <p:nvSpPr>
            <p:cNvPr id="17422" name="TextBox 37"/>
            <p:cNvSpPr txBox="1">
              <a:spLocks noChangeArrowheads="1"/>
            </p:cNvSpPr>
            <p:nvPr/>
          </p:nvSpPr>
          <p:spPr bwMode="auto">
            <a:xfrm>
              <a:off x="457869" y="1871246"/>
              <a:ext cx="4764560" cy="338554"/>
            </a:xfrm>
            <a:prstGeom prst="rect">
              <a:avLst/>
            </a:prstGeom>
            <a:noFill/>
            <a:ln w="9525">
              <a:noFill/>
              <a:miter lim="800000"/>
              <a:headEnd/>
              <a:tailEnd/>
            </a:ln>
          </p:spPr>
          <p:txBody>
            <a:bodyPr lIns="0">
              <a:spAutoFit/>
            </a:bodyPr>
            <a:lstStyle/>
            <a:p>
              <a:r>
                <a:rPr lang="en-GB" sz="1600">
                  <a:solidFill>
                    <a:srgbClr val="333333"/>
                  </a:solidFill>
                  <a:latin typeface="Verdana" pitchFamily="34" charset="0"/>
                  <a:ea typeface="ＭＳ Ｐゴシック" pitchFamily="34" charset="-128"/>
                </a:rPr>
                <a:t>Wholesale (Optimize FOB or CIF Logistics)</a:t>
              </a:r>
            </a:p>
          </p:txBody>
        </p:sp>
        <p:sp>
          <p:nvSpPr>
            <p:cNvPr id="17423" name="Rectangle 38"/>
            <p:cNvSpPr>
              <a:spLocks noChangeArrowheads="1"/>
            </p:cNvSpPr>
            <p:nvPr/>
          </p:nvSpPr>
          <p:spPr bwMode="auto">
            <a:xfrm>
              <a:off x="7721600" y="2254915"/>
              <a:ext cx="965200" cy="1002623"/>
            </a:xfrm>
            <a:prstGeom prst="rect">
              <a:avLst/>
            </a:prstGeom>
            <a:noFill/>
            <a:ln w="28575">
              <a:solidFill>
                <a:schemeClr val="accent2"/>
              </a:solidFill>
              <a:round/>
              <a:headEnd/>
              <a:tailEnd/>
            </a:ln>
          </p:spPr>
          <p:txBody>
            <a:bodyPr wrap="none" lIns="90000" tIns="46800" rIns="90000" bIns="46800"/>
            <a:lstStyle/>
            <a:p>
              <a:endParaRPr lang="en-GB">
                <a:solidFill>
                  <a:srgbClr val="EF4135"/>
                </a:solidFill>
                <a:latin typeface="Verdana" pitchFamily="34" charset="0"/>
                <a:ea typeface="ＭＳ Ｐゴシック" pitchFamily="34" charset="-128"/>
              </a:endParaRPr>
            </a:p>
          </p:txBody>
        </p:sp>
        <p:sp>
          <p:nvSpPr>
            <p:cNvPr id="17424" name="TextBox 39"/>
            <p:cNvSpPr txBox="1">
              <a:spLocks noChangeArrowheads="1"/>
            </p:cNvSpPr>
            <p:nvPr/>
          </p:nvSpPr>
          <p:spPr bwMode="auto">
            <a:xfrm>
              <a:off x="7725767" y="2254915"/>
              <a:ext cx="947664" cy="461665"/>
            </a:xfrm>
            <a:prstGeom prst="rect">
              <a:avLst/>
            </a:prstGeom>
            <a:noFill/>
            <a:ln w="9525">
              <a:noFill/>
              <a:miter lim="800000"/>
              <a:headEnd/>
              <a:tailEnd/>
            </a:ln>
          </p:spPr>
          <p:txBody>
            <a:bodyPr>
              <a:spAutoFit/>
            </a:bodyPr>
            <a:lstStyle/>
            <a:p>
              <a:r>
                <a:rPr lang="en-GB" sz="1200">
                  <a:solidFill>
                    <a:schemeClr val="accent2"/>
                  </a:solidFill>
                  <a:latin typeface="Verdana" pitchFamily="34" charset="0"/>
                  <a:ea typeface="ＭＳ Ｐゴシック" pitchFamily="34" charset="-128"/>
                </a:rPr>
                <a:t>Retailer’s control</a:t>
              </a:r>
            </a:p>
          </p:txBody>
        </p:sp>
        <p:grpSp>
          <p:nvGrpSpPr>
            <p:cNvPr id="17425" name="Group 256"/>
            <p:cNvGrpSpPr>
              <a:grpSpLocks/>
            </p:cNvGrpSpPr>
            <p:nvPr/>
          </p:nvGrpSpPr>
          <p:grpSpPr bwMode="auto">
            <a:xfrm>
              <a:off x="606405" y="2694584"/>
              <a:ext cx="680298" cy="518393"/>
              <a:chOff x="306" y="1973"/>
              <a:chExt cx="458" cy="349"/>
            </a:xfrm>
          </p:grpSpPr>
          <p:pic>
            <p:nvPicPr>
              <p:cNvPr id="86" name="Picture 257" descr="Shop_sky blue"/>
              <p:cNvPicPr>
                <a:picLocks noChangeAspect="1" noChangeArrowheads="1"/>
              </p:cNvPicPr>
              <p:nvPr/>
            </p:nvPicPr>
            <p:blipFill>
              <a:blip r:embed="rId12" cstate="print">
                <a:duotone>
                  <a:schemeClr val="bg2">
                    <a:shade val="45000"/>
                    <a:satMod val="135000"/>
                  </a:schemeClr>
                  <a:prstClr val="white"/>
                </a:duotone>
              </a:blip>
              <a:srcRect/>
              <a:stretch>
                <a:fillRect/>
              </a:stretch>
            </p:blipFill>
            <p:spPr bwMode="auto">
              <a:xfrm>
                <a:off x="306" y="1973"/>
                <a:ext cx="458" cy="349"/>
              </a:xfrm>
              <a:prstGeom prst="rect">
                <a:avLst/>
              </a:prstGeom>
              <a:noFill/>
              <a:ln w="9525">
                <a:noFill/>
                <a:miter lim="800000"/>
                <a:headEnd/>
                <a:tailEnd/>
              </a:ln>
            </p:spPr>
          </p:pic>
          <p:sp>
            <p:nvSpPr>
              <p:cNvPr id="87" name="Rectangle 258"/>
              <p:cNvSpPr>
                <a:spLocks noChangeArrowheads="1"/>
              </p:cNvSpPr>
              <p:nvPr/>
            </p:nvSpPr>
            <p:spPr bwMode="auto">
              <a:xfrm>
                <a:off x="398" y="2057"/>
                <a:ext cx="271" cy="98"/>
              </a:xfrm>
              <a:prstGeom prst="rect">
                <a:avLst/>
              </a:prstGeom>
              <a:solidFill>
                <a:srgbClr val="FFFFFF"/>
              </a:solidFill>
              <a:ln w="9525">
                <a:noFill/>
                <a:miter lim="800000"/>
                <a:headEnd/>
                <a:tailEnd/>
              </a:ln>
            </p:spPr>
            <p:txBody>
              <a:bodyPr wrap="none" lIns="90000" tIns="46800" rIns="90000" bIns="46800" anchor="ctr"/>
              <a:lstStyle/>
              <a:p>
                <a:pPr>
                  <a:defRPr/>
                </a:pPr>
                <a:r>
                  <a:rPr lang="en-GB" sz="800" dirty="0">
                    <a:solidFill>
                      <a:schemeClr val="bg2">
                        <a:lumMod val="50000"/>
                        <a:lumOff val="50000"/>
                      </a:schemeClr>
                    </a:solidFill>
                    <a:latin typeface="Verdana" charset="0"/>
                    <a:ea typeface="ＭＳ Ｐゴシック" charset="-128"/>
                    <a:cs typeface="ＭＳ Ｐゴシック" charset="-128"/>
                  </a:rPr>
                  <a:t>FARM</a:t>
                </a:r>
              </a:p>
            </p:txBody>
          </p:sp>
        </p:grpSp>
        <p:pic>
          <p:nvPicPr>
            <p:cNvPr id="74" name="Picture 243" descr="Airplane_sky blue"/>
            <p:cNvPicPr>
              <a:picLocks noChangeAspect="1" noChangeArrowheads="1"/>
            </p:cNvPicPr>
            <p:nvPr/>
          </p:nvPicPr>
          <p:blipFill>
            <a:blip r:embed="rId8" cstate="print">
              <a:duotone>
                <a:schemeClr val="bg2">
                  <a:shade val="45000"/>
                  <a:satMod val="135000"/>
                </a:schemeClr>
                <a:prstClr val="white"/>
              </a:duotone>
            </a:blip>
            <a:srcRect/>
            <a:stretch>
              <a:fillRect/>
            </a:stretch>
          </p:blipFill>
          <p:spPr bwMode="auto">
            <a:xfrm>
              <a:off x="3092518" y="2407903"/>
              <a:ext cx="686549" cy="329056"/>
            </a:xfrm>
            <a:prstGeom prst="rect">
              <a:avLst/>
            </a:prstGeom>
            <a:noFill/>
            <a:ln w="9525">
              <a:noFill/>
              <a:miter lim="800000"/>
              <a:headEnd/>
              <a:tailEnd/>
            </a:ln>
          </p:spPr>
        </p:pic>
        <p:pic>
          <p:nvPicPr>
            <p:cNvPr id="81" name="Picture 244" descr="Certificate_sky blue"/>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2257205" y="2407903"/>
              <a:ext cx="267366" cy="404020"/>
            </a:xfrm>
            <a:prstGeom prst="rect">
              <a:avLst/>
            </a:prstGeom>
            <a:noFill/>
            <a:ln w="9525">
              <a:noFill/>
              <a:miter lim="800000"/>
              <a:headEnd/>
              <a:tailEnd/>
            </a:ln>
          </p:spPr>
        </p:pic>
        <p:pic>
          <p:nvPicPr>
            <p:cNvPr id="82" name="Picture 244" descr="Certificate_sky blue"/>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4430746" y="2407903"/>
              <a:ext cx="267366" cy="404020"/>
            </a:xfrm>
            <a:prstGeom prst="rect">
              <a:avLst/>
            </a:prstGeom>
            <a:noFill/>
            <a:ln w="9525">
              <a:noFill/>
              <a:miter lim="800000"/>
              <a:headEnd/>
              <a:tailEnd/>
            </a:ln>
          </p:spPr>
        </p:pic>
        <p:sp>
          <p:nvSpPr>
            <p:cNvPr id="17429" name="Rectangle 36"/>
            <p:cNvSpPr>
              <a:spLocks noChangeArrowheads="1"/>
            </p:cNvSpPr>
            <p:nvPr/>
          </p:nvSpPr>
          <p:spPr bwMode="auto">
            <a:xfrm>
              <a:off x="2941402" y="2254915"/>
              <a:ext cx="2871213" cy="1002623"/>
            </a:xfrm>
            <a:prstGeom prst="rect">
              <a:avLst/>
            </a:prstGeom>
            <a:noFill/>
            <a:ln w="28575">
              <a:solidFill>
                <a:srgbClr val="0060AF"/>
              </a:solidFill>
              <a:prstDash val="dash"/>
              <a:round/>
              <a:headEnd/>
              <a:tailEnd/>
            </a:ln>
          </p:spPr>
          <p:txBody>
            <a:bodyPr wrap="none" lIns="90000" tIns="46800" rIns="90000" bIns="46800"/>
            <a:lstStyle/>
            <a:p>
              <a:endParaRPr lang="en-US">
                <a:solidFill>
                  <a:srgbClr val="97898D"/>
                </a:solidFill>
                <a:latin typeface="Verdana" pitchFamily="34" charset="0"/>
                <a:ea typeface="ＭＳ Ｐゴシック" pitchFamily="34" charset="-128"/>
              </a:endParaRPr>
            </a:p>
          </p:txBody>
        </p:sp>
        <p:pic>
          <p:nvPicPr>
            <p:cNvPr id="108" name="Picture 57"/>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6056403" y="2773309"/>
              <a:ext cx="448581" cy="439668"/>
            </a:xfrm>
            <a:prstGeom prst="rect">
              <a:avLst/>
            </a:prstGeom>
            <a:noFill/>
            <a:ln w="9525">
              <a:noFill/>
              <a:miter lim="800000"/>
              <a:headEnd/>
              <a:tailEnd/>
            </a:ln>
          </p:spPr>
        </p:pic>
        <p:pic>
          <p:nvPicPr>
            <p:cNvPr id="109" name="Picture 59" descr="15"/>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5010798" y="2852614"/>
              <a:ext cx="641678" cy="360363"/>
            </a:xfrm>
            <a:prstGeom prst="rect">
              <a:avLst/>
            </a:prstGeom>
            <a:noFill/>
            <a:ln w="9525">
              <a:noFill/>
              <a:miter lim="800000"/>
              <a:headEnd/>
              <a:tailEnd/>
            </a:ln>
          </p:spPr>
        </p:pic>
        <p:pic>
          <p:nvPicPr>
            <p:cNvPr id="110" name="Picture 59" descr="15"/>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6908911" y="2852614"/>
              <a:ext cx="641678" cy="360363"/>
            </a:xfrm>
            <a:prstGeom prst="rect">
              <a:avLst/>
            </a:prstGeom>
            <a:noFill/>
            <a:ln w="9525">
              <a:noFill/>
              <a:miter lim="800000"/>
              <a:headEnd/>
              <a:tailEnd/>
            </a:ln>
          </p:spPr>
        </p:pic>
        <p:pic>
          <p:nvPicPr>
            <p:cNvPr id="111" name="Picture 257" descr="Shop_sky blue"/>
            <p:cNvPicPr>
              <a:picLocks noChangeAspect="1" noChangeArrowheads="1"/>
            </p:cNvPicPr>
            <p:nvPr/>
          </p:nvPicPr>
          <p:blipFill>
            <a:blip r:embed="rId12" cstate="print">
              <a:duotone>
                <a:schemeClr val="bg2">
                  <a:shade val="45000"/>
                  <a:satMod val="135000"/>
                </a:schemeClr>
                <a:prstClr val="white"/>
              </a:duotone>
            </a:blip>
            <a:srcRect/>
            <a:stretch>
              <a:fillRect/>
            </a:stretch>
          </p:blipFill>
          <p:spPr bwMode="auto">
            <a:xfrm>
              <a:off x="7849053" y="2694469"/>
              <a:ext cx="680298" cy="518394"/>
            </a:xfrm>
            <a:prstGeom prst="rect">
              <a:avLst/>
            </a:prstGeom>
            <a:noFill/>
            <a:ln w="9525">
              <a:noFill/>
              <a:miter lim="800000"/>
              <a:headEnd/>
              <a:tailEnd/>
            </a:ln>
          </p:spPr>
        </p:pic>
        <p:sp>
          <p:nvSpPr>
            <p:cNvPr id="112" name="Rectangle 258"/>
            <p:cNvSpPr>
              <a:spLocks noChangeArrowheads="1"/>
            </p:cNvSpPr>
            <p:nvPr/>
          </p:nvSpPr>
          <p:spPr bwMode="auto">
            <a:xfrm>
              <a:off x="7985125" y="2819260"/>
              <a:ext cx="403225" cy="149269"/>
            </a:xfrm>
            <a:prstGeom prst="rect">
              <a:avLst/>
            </a:prstGeom>
            <a:solidFill>
              <a:srgbClr val="FFFFFF"/>
            </a:solidFill>
            <a:ln w="9525">
              <a:noFill/>
              <a:miter lim="800000"/>
              <a:headEnd/>
              <a:tailEnd/>
            </a:ln>
          </p:spPr>
          <p:txBody>
            <a:bodyPr wrap="none" lIns="0" tIns="0" rIns="0" bIns="0" anchor="ctr"/>
            <a:lstStyle/>
            <a:p>
              <a:pPr algn="ctr">
                <a:defRPr/>
              </a:pPr>
              <a:r>
                <a:rPr lang="en-GB" sz="800" dirty="0">
                  <a:solidFill>
                    <a:schemeClr val="bg1">
                      <a:lumMod val="75000"/>
                    </a:schemeClr>
                  </a:solidFill>
                  <a:latin typeface="Verdana" charset="0"/>
                  <a:ea typeface="ＭＳ Ｐゴシック" charset="-128"/>
                  <a:cs typeface="ＭＳ Ｐゴシック" charset="-128"/>
                </a:rPr>
                <a:t>SHOP</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fade">
                                      <p:cBhvr>
                                        <p:cTn id="1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323528" y="177800"/>
            <a:ext cx="8820472" cy="857250"/>
          </a:xfrm>
        </p:spPr>
        <p:txBody>
          <a:bodyPr/>
          <a:lstStyle/>
          <a:p>
            <a:r>
              <a:rPr lang="es-CR" sz="2200" dirty="0" smtClean="0">
                <a:ea typeface="ＭＳ Ｐゴシック" pitchFamily="34" charset="-128"/>
              </a:rPr>
              <a:t>Alternativamente</a:t>
            </a:r>
            <a:r>
              <a:rPr lang="en-GB" sz="2200" dirty="0" smtClean="0">
                <a:ea typeface="ＭＳ Ｐゴシック" pitchFamily="34" charset="-128"/>
              </a:rPr>
              <a:t> Damco Fresh Produce Direct </a:t>
            </a:r>
            <a:r>
              <a:rPr lang="es-CR" sz="2200" dirty="0" smtClean="0">
                <a:ea typeface="ＭＳ Ｐゴシック" pitchFamily="34" charset="-128"/>
              </a:rPr>
              <a:t>puede optimizar al exportador la entregas a los CD de sus clientes</a:t>
            </a:r>
          </a:p>
        </p:txBody>
      </p:sp>
      <p:grpSp>
        <p:nvGrpSpPr>
          <p:cNvPr id="2" name="Group 114"/>
          <p:cNvGrpSpPr>
            <a:grpSpLocks/>
          </p:cNvGrpSpPr>
          <p:nvPr/>
        </p:nvGrpSpPr>
        <p:grpSpPr bwMode="auto">
          <a:xfrm>
            <a:off x="444500" y="1871663"/>
            <a:ext cx="8242300" cy="1385887"/>
            <a:chOff x="444500" y="1871246"/>
            <a:chExt cx="8242300" cy="1386292"/>
          </a:xfrm>
        </p:grpSpPr>
        <p:sp>
          <p:nvSpPr>
            <p:cNvPr id="57" name="Rectangle 36"/>
            <p:cNvSpPr>
              <a:spLocks noChangeArrowheads="1"/>
            </p:cNvSpPr>
            <p:nvPr/>
          </p:nvSpPr>
          <p:spPr bwMode="auto">
            <a:xfrm>
              <a:off x="444500" y="2255533"/>
              <a:ext cx="2497138" cy="1002005"/>
            </a:xfrm>
            <a:prstGeom prst="rect">
              <a:avLst/>
            </a:prstGeom>
            <a:noFill/>
            <a:ln w="28575">
              <a:solidFill>
                <a:schemeClr val="accent4"/>
              </a:solidFill>
              <a:round/>
              <a:headEnd/>
              <a:tailEnd/>
            </a:ln>
          </p:spPr>
          <p:txBody>
            <a:bodyPr wrap="none" lIns="90000" tIns="46800" rIns="90000" bIns="46800"/>
            <a:lstStyle/>
            <a:p>
              <a:pPr>
                <a:defRPr/>
              </a:pPr>
              <a:endParaRPr lang="en-GB" dirty="0">
                <a:solidFill>
                  <a:schemeClr val="accent4"/>
                </a:solidFill>
                <a:latin typeface="Verdana" charset="0"/>
                <a:ea typeface="ＭＳ Ｐゴシック" charset="-128"/>
                <a:cs typeface="ＭＳ Ｐゴシック" charset="-128"/>
              </a:endParaRPr>
            </a:p>
          </p:txBody>
        </p:sp>
        <p:sp>
          <p:nvSpPr>
            <p:cNvPr id="15387" name="TextBox 37"/>
            <p:cNvSpPr txBox="1">
              <a:spLocks noChangeArrowheads="1"/>
            </p:cNvSpPr>
            <p:nvPr/>
          </p:nvSpPr>
          <p:spPr bwMode="auto">
            <a:xfrm>
              <a:off x="444500" y="2254915"/>
              <a:ext cx="1087288" cy="461665"/>
            </a:xfrm>
            <a:prstGeom prst="rect">
              <a:avLst/>
            </a:prstGeom>
            <a:noFill/>
            <a:ln w="9525">
              <a:noFill/>
              <a:miter lim="800000"/>
              <a:headEnd/>
              <a:tailEnd/>
            </a:ln>
          </p:spPr>
          <p:txBody>
            <a:bodyPr>
              <a:spAutoFit/>
            </a:bodyPr>
            <a:lstStyle/>
            <a:p>
              <a:r>
                <a:rPr lang="en-GB" sz="1200">
                  <a:solidFill>
                    <a:srgbClr val="0060AF"/>
                  </a:solidFill>
                  <a:latin typeface="Verdana" pitchFamily="34" charset="0"/>
                  <a:ea typeface="ＭＳ Ｐゴシック" pitchFamily="34" charset="-128"/>
                </a:rPr>
                <a:t>Grower’s control</a:t>
              </a:r>
            </a:p>
          </p:txBody>
        </p:sp>
        <p:sp>
          <p:nvSpPr>
            <p:cNvPr id="15388" name="Rectangle 38"/>
            <p:cNvSpPr>
              <a:spLocks noChangeArrowheads="1"/>
            </p:cNvSpPr>
            <p:nvPr/>
          </p:nvSpPr>
          <p:spPr bwMode="auto">
            <a:xfrm>
              <a:off x="2942118" y="2254915"/>
              <a:ext cx="4779482" cy="1002623"/>
            </a:xfrm>
            <a:prstGeom prst="rect">
              <a:avLst/>
            </a:prstGeom>
            <a:noFill/>
            <a:ln w="28575">
              <a:solidFill>
                <a:srgbClr val="FF0000"/>
              </a:solidFill>
              <a:round/>
              <a:headEnd/>
              <a:tailEnd/>
            </a:ln>
          </p:spPr>
          <p:txBody>
            <a:bodyPr wrap="none" lIns="90000" tIns="46800" rIns="90000" bIns="46800"/>
            <a:lstStyle/>
            <a:p>
              <a:endParaRPr lang="en-GB">
                <a:solidFill>
                  <a:srgbClr val="EF4135"/>
                </a:solidFill>
                <a:latin typeface="Verdana" pitchFamily="34" charset="0"/>
                <a:ea typeface="ＭＳ Ｐゴシック" pitchFamily="34" charset="-128"/>
              </a:endParaRPr>
            </a:p>
          </p:txBody>
        </p:sp>
        <p:sp>
          <p:nvSpPr>
            <p:cNvPr id="60" name="TextBox 39"/>
            <p:cNvSpPr txBox="1">
              <a:spLocks noChangeArrowheads="1"/>
            </p:cNvSpPr>
            <p:nvPr/>
          </p:nvSpPr>
          <p:spPr bwMode="auto">
            <a:xfrm>
              <a:off x="5942013" y="2255533"/>
              <a:ext cx="1511300" cy="460510"/>
            </a:xfrm>
            <a:prstGeom prst="rect">
              <a:avLst/>
            </a:prstGeom>
            <a:noFill/>
            <a:ln w="9525">
              <a:noFill/>
              <a:miter lim="800000"/>
              <a:headEnd/>
              <a:tailEnd/>
            </a:ln>
          </p:spPr>
          <p:txBody>
            <a:bodyPr>
              <a:spAutoFit/>
            </a:bodyPr>
            <a:lstStyle/>
            <a:p>
              <a:r>
                <a:rPr lang="en-GB" sz="1200">
                  <a:solidFill>
                    <a:srgbClr val="636A70"/>
                  </a:solidFill>
                  <a:latin typeface="Verdana" pitchFamily="34" charset="0"/>
                  <a:ea typeface="ＭＳ Ｐゴシック" pitchFamily="34" charset="-128"/>
                </a:rPr>
                <a:t>Wholesaler’s control</a:t>
              </a:r>
            </a:p>
          </p:txBody>
        </p:sp>
        <p:pic>
          <p:nvPicPr>
            <p:cNvPr id="61" name="Picture 55" descr="16"/>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a:off x="3092518" y="2811233"/>
              <a:ext cx="712976" cy="401744"/>
            </a:xfrm>
            <a:prstGeom prst="rect">
              <a:avLst/>
            </a:prstGeom>
            <a:noFill/>
            <a:ln w="9525">
              <a:noFill/>
              <a:miter lim="800000"/>
              <a:headEnd/>
              <a:tailEnd/>
            </a:ln>
          </p:spPr>
        </p:pic>
        <p:pic>
          <p:nvPicPr>
            <p:cNvPr id="63" name="Picture 59" descr="15"/>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532018" y="2852614"/>
              <a:ext cx="641678" cy="360363"/>
            </a:xfrm>
            <a:prstGeom prst="rect">
              <a:avLst/>
            </a:prstGeom>
            <a:noFill/>
            <a:ln w="9525">
              <a:noFill/>
              <a:miter lim="800000"/>
              <a:headEnd/>
              <a:tailEnd/>
            </a:ln>
          </p:spPr>
        </p:pic>
        <p:sp>
          <p:nvSpPr>
            <p:cNvPr id="64" name="Freeform 126"/>
            <p:cNvSpPr>
              <a:spLocks noChangeArrowheads="1"/>
            </p:cNvSpPr>
            <p:nvPr/>
          </p:nvSpPr>
          <p:spPr bwMode="auto">
            <a:xfrm>
              <a:off x="2524125" y="2711278"/>
              <a:ext cx="280988" cy="501797"/>
            </a:xfrm>
            <a:custGeom>
              <a:avLst/>
              <a:gdLst>
                <a:gd name="T0" fmla="*/ 0 w 333375"/>
                <a:gd name="T1" fmla="*/ 15156 h 628650"/>
                <a:gd name="T2" fmla="*/ 6379 w 333375"/>
                <a:gd name="T3" fmla="*/ 15272 h 628650"/>
                <a:gd name="T4" fmla="*/ 6715 w 333375"/>
                <a:gd name="T5" fmla="*/ 0 h 628650"/>
                <a:gd name="T6" fmla="*/ 21823 w 333375"/>
                <a:gd name="T7" fmla="*/ 117 h 628650"/>
                <a:gd name="T8" fmla="*/ 16451 w 333375"/>
                <a:gd name="T9" fmla="*/ 2893 h 628650"/>
                <a:gd name="T10" fmla="*/ 16451 w 333375"/>
                <a:gd name="T11" fmla="*/ 15272 h 628650"/>
                <a:gd name="T12" fmla="*/ 23501 w 333375"/>
                <a:gd name="T13" fmla="*/ 15272 h 628650"/>
                <a:gd name="T14" fmla="*/ 0 60000 65536"/>
                <a:gd name="T15" fmla="*/ 0 60000 65536"/>
                <a:gd name="T16" fmla="*/ 0 60000 65536"/>
                <a:gd name="T17" fmla="*/ 0 60000 65536"/>
                <a:gd name="T18" fmla="*/ 0 60000 65536"/>
                <a:gd name="T19" fmla="*/ 0 60000 65536"/>
                <a:gd name="T20" fmla="*/ 0 60000 65536"/>
                <a:gd name="T21" fmla="*/ 0 w 333375"/>
                <a:gd name="T22" fmla="*/ 0 h 628650"/>
                <a:gd name="T23" fmla="*/ 333375 w 333375"/>
                <a:gd name="T24" fmla="*/ 628650 h 6286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375" h="628650">
                  <a:moveTo>
                    <a:pt x="0" y="623888"/>
                  </a:moveTo>
                  <a:lnTo>
                    <a:pt x="90487" y="628650"/>
                  </a:lnTo>
                  <a:cubicBezTo>
                    <a:pt x="92075" y="419100"/>
                    <a:pt x="93662" y="209550"/>
                    <a:pt x="95250" y="0"/>
                  </a:cubicBezTo>
                  <a:lnTo>
                    <a:pt x="309562" y="4763"/>
                  </a:lnTo>
                  <a:lnTo>
                    <a:pt x="233362" y="119063"/>
                  </a:lnTo>
                  <a:lnTo>
                    <a:pt x="233362" y="628650"/>
                  </a:lnTo>
                  <a:lnTo>
                    <a:pt x="333375" y="628650"/>
                  </a:lnTo>
                </a:path>
              </a:pathLst>
            </a:custGeom>
            <a:noFill/>
            <a:ln w="28575">
              <a:solidFill>
                <a:schemeClr val="bg2">
                  <a:lumMod val="50000"/>
                  <a:lumOff val="50000"/>
                </a:schemeClr>
              </a:solidFill>
              <a:round/>
              <a:headEnd/>
              <a:tailEnd/>
            </a:ln>
          </p:spPr>
          <p:txBody>
            <a:bodyPr anchor="ctr"/>
            <a:lstStyle/>
            <a:p>
              <a:pPr algn="ctr">
                <a:defRPr/>
              </a:pPr>
              <a:endParaRPr lang="da-DK">
                <a:solidFill>
                  <a:srgbClr val="231F20"/>
                </a:solidFill>
                <a:latin typeface="Verdana" charset="0"/>
                <a:ea typeface="ＭＳ Ｐゴシック" charset="-128"/>
                <a:cs typeface="ＭＳ Ｐゴシック" charset="-128"/>
              </a:endParaRPr>
            </a:p>
          </p:txBody>
        </p:sp>
        <p:sp>
          <p:nvSpPr>
            <p:cNvPr id="65" name="Freeform 150"/>
            <p:cNvSpPr>
              <a:spLocks noChangeArrowheads="1"/>
            </p:cNvSpPr>
            <p:nvPr/>
          </p:nvSpPr>
          <p:spPr bwMode="auto">
            <a:xfrm flipH="1">
              <a:off x="4146550" y="2709691"/>
              <a:ext cx="280988" cy="503384"/>
            </a:xfrm>
            <a:custGeom>
              <a:avLst/>
              <a:gdLst>
                <a:gd name="T0" fmla="*/ 0 w 333375"/>
                <a:gd name="T1" fmla="*/ 16318 h 628650"/>
                <a:gd name="T2" fmla="*/ 6379 w 333375"/>
                <a:gd name="T3" fmla="*/ 16442 h 628650"/>
                <a:gd name="T4" fmla="*/ 6715 w 333375"/>
                <a:gd name="T5" fmla="*/ 0 h 628650"/>
                <a:gd name="T6" fmla="*/ 21822 w 333375"/>
                <a:gd name="T7" fmla="*/ 125 h 628650"/>
                <a:gd name="T8" fmla="*/ 16450 w 333375"/>
                <a:gd name="T9" fmla="*/ 3113 h 628650"/>
                <a:gd name="T10" fmla="*/ 16450 w 333375"/>
                <a:gd name="T11" fmla="*/ 16442 h 628650"/>
                <a:gd name="T12" fmla="*/ 23500 w 333375"/>
                <a:gd name="T13" fmla="*/ 16442 h 628650"/>
                <a:gd name="T14" fmla="*/ 0 60000 65536"/>
                <a:gd name="T15" fmla="*/ 0 60000 65536"/>
                <a:gd name="T16" fmla="*/ 0 60000 65536"/>
                <a:gd name="T17" fmla="*/ 0 60000 65536"/>
                <a:gd name="T18" fmla="*/ 0 60000 65536"/>
                <a:gd name="T19" fmla="*/ 0 60000 65536"/>
                <a:gd name="T20" fmla="*/ 0 60000 65536"/>
                <a:gd name="T21" fmla="*/ 0 w 333375"/>
                <a:gd name="T22" fmla="*/ 0 h 628650"/>
                <a:gd name="T23" fmla="*/ 333375 w 333375"/>
                <a:gd name="T24" fmla="*/ 628650 h 6286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375" h="628650">
                  <a:moveTo>
                    <a:pt x="0" y="623888"/>
                  </a:moveTo>
                  <a:lnTo>
                    <a:pt x="90487" y="628650"/>
                  </a:lnTo>
                  <a:cubicBezTo>
                    <a:pt x="92075" y="419100"/>
                    <a:pt x="93662" y="209550"/>
                    <a:pt x="95250" y="0"/>
                  </a:cubicBezTo>
                  <a:lnTo>
                    <a:pt x="309562" y="4763"/>
                  </a:lnTo>
                  <a:lnTo>
                    <a:pt x="233362" y="119063"/>
                  </a:lnTo>
                  <a:lnTo>
                    <a:pt x="233362" y="628650"/>
                  </a:lnTo>
                  <a:lnTo>
                    <a:pt x="333375" y="628650"/>
                  </a:lnTo>
                </a:path>
              </a:pathLst>
            </a:custGeom>
            <a:noFill/>
            <a:ln w="28575">
              <a:solidFill>
                <a:schemeClr val="bg2">
                  <a:lumMod val="50000"/>
                  <a:lumOff val="50000"/>
                </a:schemeClr>
              </a:solidFill>
              <a:round/>
              <a:headEnd/>
              <a:tailEnd/>
            </a:ln>
          </p:spPr>
          <p:txBody>
            <a:bodyPr anchor="ctr"/>
            <a:lstStyle/>
            <a:p>
              <a:pPr algn="ctr">
                <a:defRPr/>
              </a:pPr>
              <a:endParaRPr lang="da-DK">
                <a:solidFill>
                  <a:srgbClr val="231F20"/>
                </a:solidFill>
                <a:latin typeface="Verdana" charset="0"/>
                <a:ea typeface="ＭＳ Ｐゴシック" charset="-128"/>
                <a:cs typeface="ＭＳ Ｐゴシック" charset="-128"/>
              </a:endParaRPr>
            </a:p>
          </p:txBody>
        </p:sp>
        <p:sp>
          <p:nvSpPr>
            <p:cNvPr id="15394" name="TextBox 37"/>
            <p:cNvSpPr txBox="1">
              <a:spLocks noChangeArrowheads="1"/>
            </p:cNvSpPr>
            <p:nvPr/>
          </p:nvSpPr>
          <p:spPr bwMode="auto">
            <a:xfrm>
              <a:off x="457869" y="1871246"/>
              <a:ext cx="4764560" cy="338554"/>
            </a:xfrm>
            <a:prstGeom prst="rect">
              <a:avLst/>
            </a:prstGeom>
            <a:noFill/>
            <a:ln w="9525">
              <a:noFill/>
              <a:miter lim="800000"/>
              <a:headEnd/>
              <a:tailEnd/>
            </a:ln>
          </p:spPr>
          <p:txBody>
            <a:bodyPr lIns="0">
              <a:spAutoFit/>
            </a:bodyPr>
            <a:lstStyle/>
            <a:p>
              <a:r>
                <a:rPr lang="en-GB" sz="1600">
                  <a:solidFill>
                    <a:srgbClr val="333333"/>
                  </a:solidFill>
                  <a:latin typeface="Verdana" pitchFamily="34" charset="0"/>
                  <a:ea typeface="ＭＳ Ｐゴシック" pitchFamily="34" charset="-128"/>
                </a:rPr>
                <a:t>Wholesale (Optimize FOB or CIF Logistics)</a:t>
              </a:r>
            </a:p>
          </p:txBody>
        </p:sp>
        <p:sp>
          <p:nvSpPr>
            <p:cNvPr id="15395" name="Rectangle 38"/>
            <p:cNvSpPr>
              <a:spLocks noChangeArrowheads="1"/>
            </p:cNvSpPr>
            <p:nvPr/>
          </p:nvSpPr>
          <p:spPr bwMode="auto">
            <a:xfrm>
              <a:off x="7721600" y="2254915"/>
              <a:ext cx="965200" cy="1002623"/>
            </a:xfrm>
            <a:prstGeom prst="rect">
              <a:avLst/>
            </a:prstGeom>
            <a:noFill/>
            <a:ln w="28575">
              <a:solidFill>
                <a:schemeClr val="accent2"/>
              </a:solidFill>
              <a:round/>
              <a:headEnd/>
              <a:tailEnd/>
            </a:ln>
          </p:spPr>
          <p:txBody>
            <a:bodyPr wrap="none" lIns="90000" tIns="46800" rIns="90000" bIns="46800"/>
            <a:lstStyle/>
            <a:p>
              <a:endParaRPr lang="en-GB">
                <a:solidFill>
                  <a:srgbClr val="EF4135"/>
                </a:solidFill>
                <a:latin typeface="Verdana" pitchFamily="34" charset="0"/>
                <a:ea typeface="ＭＳ Ｐゴシック" pitchFamily="34" charset="-128"/>
              </a:endParaRPr>
            </a:p>
          </p:txBody>
        </p:sp>
        <p:sp>
          <p:nvSpPr>
            <p:cNvPr id="15396" name="TextBox 39"/>
            <p:cNvSpPr txBox="1">
              <a:spLocks noChangeArrowheads="1"/>
            </p:cNvSpPr>
            <p:nvPr/>
          </p:nvSpPr>
          <p:spPr bwMode="auto">
            <a:xfrm>
              <a:off x="7725767" y="2254915"/>
              <a:ext cx="947664" cy="461665"/>
            </a:xfrm>
            <a:prstGeom prst="rect">
              <a:avLst/>
            </a:prstGeom>
            <a:noFill/>
            <a:ln w="9525">
              <a:noFill/>
              <a:miter lim="800000"/>
              <a:headEnd/>
              <a:tailEnd/>
            </a:ln>
          </p:spPr>
          <p:txBody>
            <a:bodyPr>
              <a:spAutoFit/>
            </a:bodyPr>
            <a:lstStyle/>
            <a:p>
              <a:r>
                <a:rPr lang="en-GB" sz="1200">
                  <a:solidFill>
                    <a:schemeClr val="accent2"/>
                  </a:solidFill>
                  <a:latin typeface="Verdana" pitchFamily="34" charset="0"/>
                  <a:ea typeface="ＭＳ Ｐゴシック" pitchFamily="34" charset="-128"/>
                </a:rPr>
                <a:t>Retailer’s control</a:t>
              </a:r>
            </a:p>
          </p:txBody>
        </p:sp>
        <p:grpSp>
          <p:nvGrpSpPr>
            <p:cNvPr id="15397" name="Group 256"/>
            <p:cNvGrpSpPr>
              <a:grpSpLocks/>
            </p:cNvGrpSpPr>
            <p:nvPr/>
          </p:nvGrpSpPr>
          <p:grpSpPr bwMode="auto">
            <a:xfrm>
              <a:off x="606405" y="2694584"/>
              <a:ext cx="680298" cy="518393"/>
              <a:chOff x="306" y="1973"/>
              <a:chExt cx="458" cy="349"/>
            </a:xfrm>
          </p:grpSpPr>
          <p:pic>
            <p:nvPicPr>
              <p:cNvPr id="86" name="Picture 257" descr="Shop_sky blue"/>
              <p:cNvPicPr>
                <a:picLocks noChangeAspect="1" noChangeArrowheads="1"/>
              </p:cNvPicPr>
              <p:nvPr/>
            </p:nvPicPr>
            <p:blipFill>
              <a:blip r:embed="rId5" cstate="print">
                <a:duotone>
                  <a:schemeClr val="bg2">
                    <a:shade val="45000"/>
                    <a:satMod val="135000"/>
                  </a:schemeClr>
                  <a:prstClr val="white"/>
                </a:duotone>
              </a:blip>
              <a:srcRect/>
              <a:stretch>
                <a:fillRect/>
              </a:stretch>
            </p:blipFill>
            <p:spPr bwMode="auto">
              <a:xfrm>
                <a:off x="306" y="1973"/>
                <a:ext cx="458" cy="349"/>
              </a:xfrm>
              <a:prstGeom prst="rect">
                <a:avLst/>
              </a:prstGeom>
              <a:noFill/>
              <a:ln w="9525">
                <a:noFill/>
                <a:miter lim="800000"/>
                <a:headEnd/>
                <a:tailEnd/>
              </a:ln>
            </p:spPr>
          </p:pic>
          <p:sp>
            <p:nvSpPr>
              <p:cNvPr id="87" name="Rectangle 258"/>
              <p:cNvSpPr>
                <a:spLocks noChangeArrowheads="1"/>
              </p:cNvSpPr>
              <p:nvPr/>
            </p:nvSpPr>
            <p:spPr bwMode="auto">
              <a:xfrm>
                <a:off x="398" y="2057"/>
                <a:ext cx="271" cy="98"/>
              </a:xfrm>
              <a:prstGeom prst="rect">
                <a:avLst/>
              </a:prstGeom>
              <a:solidFill>
                <a:srgbClr val="FFFFFF"/>
              </a:solidFill>
              <a:ln w="9525">
                <a:noFill/>
                <a:miter lim="800000"/>
                <a:headEnd/>
                <a:tailEnd/>
              </a:ln>
            </p:spPr>
            <p:txBody>
              <a:bodyPr wrap="none" lIns="90000" tIns="46800" rIns="90000" bIns="46800" anchor="ctr"/>
              <a:lstStyle/>
              <a:p>
                <a:pPr>
                  <a:defRPr/>
                </a:pPr>
                <a:r>
                  <a:rPr lang="en-GB" sz="800" dirty="0">
                    <a:solidFill>
                      <a:schemeClr val="bg2">
                        <a:lumMod val="50000"/>
                        <a:lumOff val="50000"/>
                      </a:schemeClr>
                    </a:solidFill>
                    <a:latin typeface="Verdana" charset="0"/>
                    <a:ea typeface="ＭＳ Ｐゴシック" charset="-128"/>
                    <a:cs typeface="ＭＳ Ｐゴシック" charset="-128"/>
                  </a:rPr>
                  <a:t>FARM</a:t>
                </a:r>
              </a:p>
            </p:txBody>
          </p:sp>
        </p:grpSp>
        <p:pic>
          <p:nvPicPr>
            <p:cNvPr id="74" name="Picture 243" descr="Airplane_sky blu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3092518" y="2407903"/>
              <a:ext cx="686549" cy="329056"/>
            </a:xfrm>
            <a:prstGeom prst="rect">
              <a:avLst/>
            </a:prstGeom>
            <a:noFill/>
            <a:ln w="9525">
              <a:noFill/>
              <a:miter lim="800000"/>
              <a:headEnd/>
              <a:tailEnd/>
            </a:ln>
          </p:spPr>
        </p:pic>
        <p:pic>
          <p:nvPicPr>
            <p:cNvPr id="81" name="Picture 244" descr="Certificate_sky blue"/>
            <p:cNvPicPr>
              <a:picLocks noChangeAspect="1" noChangeArrowheads="1"/>
            </p:cNvPicPr>
            <p:nvPr/>
          </p:nvPicPr>
          <p:blipFill>
            <a:blip r:embed="rId7" cstate="print">
              <a:duotone>
                <a:schemeClr val="bg2">
                  <a:shade val="45000"/>
                  <a:satMod val="135000"/>
                </a:schemeClr>
                <a:prstClr val="white"/>
              </a:duotone>
            </a:blip>
            <a:srcRect/>
            <a:stretch>
              <a:fillRect/>
            </a:stretch>
          </p:blipFill>
          <p:spPr bwMode="auto">
            <a:xfrm>
              <a:off x="2257205" y="2407903"/>
              <a:ext cx="267366" cy="404020"/>
            </a:xfrm>
            <a:prstGeom prst="rect">
              <a:avLst/>
            </a:prstGeom>
            <a:noFill/>
            <a:ln w="9525">
              <a:noFill/>
              <a:miter lim="800000"/>
              <a:headEnd/>
              <a:tailEnd/>
            </a:ln>
          </p:spPr>
        </p:pic>
        <p:pic>
          <p:nvPicPr>
            <p:cNvPr id="82" name="Picture 244" descr="Certificate_sky blue"/>
            <p:cNvPicPr>
              <a:picLocks noChangeAspect="1" noChangeArrowheads="1"/>
            </p:cNvPicPr>
            <p:nvPr/>
          </p:nvPicPr>
          <p:blipFill>
            <a:blip r:embed="rId7" cstate="print">
              <a:duotone>
                <a:schemeClr val="bg2">
                  <a:shade val="45000"/>
                  <a:satMod val="135000"/>
                </a:schemeClr>
                <a:prstClr val="white"/>
              </a:duotone>
            </a:blip>
            <a:srcRect/>
            <a:stretch>
              <a:fillRect/>
            </a:stretch>
          </p:blipFill>
          <p:spPr bwMode="auto">
            <a:xfrm>
              <a:off x="4430746" y="2407903"/>
              <a:ext cx="267366" cy="404020"/>
            </a:xfrm>
            <a:prstGeom prst="rect">
              <a:avLst/>
            </a:prstGeom>
            <a:noFill/>
            <a:ln w="9525">
              <a:noFill/>
              <a:miter lim="800000"/>
              <a:headEnd/>
              <a:tailEnd/>
            </a:ln>
          </p:spPr>
        </p:pic>
        <p:sp>
          <p:nvSpPr>
            <p:cNvPr id="15401" name="Rectangle 36"/>
            <p:cNvSpPr>
              <a:spLocks noChangeArrowheads="1"/>
            </p:cNvSpPr>
            <p:nvPr/>
          </p:nvSpPr>
          <p:spPr bwMode="auto">
            <a:xfrm>
              <a:off x="2941402" y="2254915"/>
              <a:ext cx="2871213" cy="1002623"/>
            </a:xfrm>
            <a:prstGeom prst="rect">
              <a:avLst/>
            </a:prstGeom>
            <a:noFill/>
            <a:ln w="28575">
              <a:solidFill>
                <a:srgbClr val="0060AF"/>
              </a:solidFill>
              <a:prstDash val="dash"/>
              <a:round/>
              <a:headEnd/>
              <a:tailEnd/>
            </a:ln>
          </p:spPr>
          <p:txBody>
            <a:bodyPr wrap="none" lIns="90000" tIns="46800" rIns="90000" bIns="46800"/>
            <a:lstStyle/>
            <a:p>
              <a:endParaRPr lang="en-US">
                <a:solidFill>
                  <a:srgbClr val="97898D"/>
                </a:solidFill>
                <a:latin typeface="Verdana" pitchFamily="34" charset="0"/>
                <a:ea typeface="ＭＳ Ｐゴシック" pitchFamily="34" charset="-128"/>
              </a:endParaRPr>
            </a:p>
          </p:txBody>
        </p:sp>
        <p:pic>
          <p:nvPicPr>
            <p:cNvPr id="108" name="Picture 57"/>
            <p:cNvPicPr>
              <a:picLocks noChangeAspect="1" noChangeArrowheads="1"/>
            </p:cNvPicPr>
            <p:nvPr/>
          </p:nvPicPr>
          <p:blipFill>
            <a:blip r:embed="rId8" cstate="print">
              <a:duotone>
                <a:schemeClr val="bg2">
                  <a:shade val="45000"/>
                  <a:satMod val="135000"/>
                </a:schemeClr>
                <a:prstClr val="white"/>
              </a:duotone>
            </a:blip>
            <a:srcRect/>
            <a:stretch>
              <a:fillRect/>
            </a:stretch>
          </p:blipFill>
          <p:spPr bwMode="auto">
            <a:xfrm>
              <a:off x="6056403" y="2773309"/>
              <a:ext cx="448581" cy="439668"/>
            </a:xfrm>
            <a:prstGeom prst="rect">
              <a:avLst/>
            </a:prstGeom>
            <a:noFill/>
            <a:ln w="9525">
              <a:noFill/>
              <a:miter lim="800000"/>
              <a:headEnd/>
              <a:tailEnd/>
            </a:ln>
          </p:spPr>
        </p:pic>
        <p:pic>
          <p:nvPicPr>
            <p:cNvPr id="109" name="Picture 59" descr="15"/>
            <p:cNvPicPr>
              <a:picLocks noChangeAspect="1" noChangeArrowheads="1"/>
            </p:cNvPicPr>
            <p:nvPr/>
          </p:nvPicPr>
          <p:blipFill>
            <a:blip r:embed="rId9" cstate="print">
              <a:duotone>
                <a:schemeClr val="bg2">
                  <a:shade val="45000"/>
                  <a:satMod val="135000"/>
                </a:schemeClr>
                <a:prstClr val="white"/>
              </a:duotone>
            </a:blip>
            <a:srcRect/>
            <a:stretch>
              <a:fillRect/>
            </a:stretch>
          </p:blipFill>
          <p:spPr bwMode="auto">
            <a:xfrm>
              <a:off x="5010798" y="2852614"/>
              <a:ext cx="641678" cy="360363"/>
            </a:xfrm>
            <a:prstGeom prst="rect">
              <a:avLst/>
            </a:prstGeom>
            <a:noFill/>
            <a:ln w="9525">
              <a:noFill/>
              <a:miter lim="800000"/>
              <a:headEnd/>
              <a:tailEnd/>
            </a:ln>
          </p:spPr>
        </p:pic>
        <p:pic>
          <p:nvPicPr>
            <p:cNvPr id="110" name="Picture 59" descr="15"/>
            <p:cNvPicPr>
              <a:picLocks noChangeAspect="1" noChangeArrowheads="1"/>
            </p:cNvPicPr>
            <p:nvPr/>
          </p:nvPicPr>
          <p:blipFill>
            <a:blip r:embed="rId9" cstate="print">
              <a:duotone>
                <a:schemeClr val="bg2">
                  <a:shade val="45000"/>
                  <a:satMod val="135000"/>
                </a:schemeClr>
                <a:prstClr val="white"/>
              </a:duotone>
            </a:blip>
            <a:srcRect/>
            <a:stretch>
              <a:fillRect/>
            </a:stretch>
          </p:blipFill>
          <p:spPr bwMode="auto">
            <a:xfrm>
              <a:off x="6908911" y="2852614"/>
              <a:ext cx="641678" cy="360363"/>
            </a:xfrm>
            <a:prstGeom prst="rect">
              <a:avLst/>
            </a:prstGeom>
            <a:noFill/>
            <a:ln w="9525">
              <a:noFill/>
              <a:miter lim="800000"/>
              <a:headEnd/>
              <a:tailEnd/>
            </a:ln>
          </p:spPr>
        </p:pic>
        <p:pic>
          <p:nvPicPr>
            <p:cNvPr id="111" name="Picture 257" descr="Shop_sky blue"/>
            <p:cNvPicPr>
              <a:picLocks noChangeAspect="1" noChangeArrowheads="1"/>
            </p:cNvPicPr>
            <p:nvPr/>
          </p:nvPicPr>
          <p:blipFill>
            <a:blip r:embed="rId5" cstate="print">
              <a:duotone>
                <a:schemeClr val="bg2">
                  <a:shade val="45000"/>
                  <a:satMod val="135000"/>
                </a:schemeClr>
                <a:prstClr val="white"/>
              </a:duotone>
            </a:blip>
            <a:srcRect/>
            <a:stretch>
              <a:fillRect/>
            </a:stretch>
          </p:blipFill>
          <p:spPr bwMode="auto">
            <a:xfrm>
              <a:off x="7849053" y="2694469"/>
              <a:ext cx="680298" cy="518394"/>
            </a:xfrm>
            <a:prstGeom prst="rect">
              <a:avLst/>
            </a:prstGeom>
            <a:noFill/>
            <a:ln w="9525">
              <a:noFill/>
              <a:miter lim="800000"/>
              <a:headEnd/>
              <a:tailEnd/>
            </a:ln>
          </p:spPr>
        </p:pic>
        <p:sp>
          <p:nvSpPr>
            <p:cNvPr id="112" name="Rectangle 258"/>
            <p:cNvSpPr>
              <a:spLocks noChangeArrowheads="1"/>
            </p:cNvSpPr>
            <p:nvPr/>
          </p:nvSpPr>
          <p:spPr bwMode="auto">
            <a:xfrm>
              <a:off x="7985125" y="2819260"/>
              <a:ext cx="403225" cy="149269"/>
            </a:xfrm>
            <a:prstGeom prst="rect">
              <a:avLst/>
            </a:prstGeom>
            <a:solidFill>
              <a:srgbClr val="FFFFFF"/>
            </a:solidFill>
            <a:ln w="9525">
              <a:noFill/>
              <a:miter lim="800000"/>
              <a:headEnd/>
              <a:tailEnd/>
            </a:ln>
          </p:spPr>
          <p:txBody>
            <a:bodyPr wrap="none" lIns="0" tIns="0" rIns="0" bIns="0" anchor="ctr"/>
            <a:lstStyle/>
            <a:p>
              <a:pPr algn="ctr">
                <a:defRPr/>
              </a:pPr>
              <a:r>
                <a:rPr lang="en-GB" sz="800" dirty="0">
                  <a:solidFill>
                    <a:schemeClr val="bg1">
                      <a:lumMod val="75000"/>
                    </a:schemeClr>
                  </a:solidFill>
                  <a:latin typeface="Verdana" charset="0"/>
                  <a:ea typeface="ＭＳ Ｐゴシック" charset="-128"/>
                  <a:cs typeface="ＭＳ Ｐゴシック" charset="-128"/>
                </a:rPr>
                <a:t>SHOP</a:t>
              </a:r>
            </a:p>
          </p:txBody>
        </p:sp>
      </p:grpSp>
      <p:sp>
        <p:nvSpPr>
          <p:cNvPr id="113" name="Rectangle 112"/>
          <p:cNvSpPr/>
          <p:nvPr/>
        </p:nvSpPr>
        <p:spPr>
          <a:xfrm>
            <a:off x="446088" y="5449888"/>
            <a:ext cx="8086352" cy="646331"/>
          </a:xfrm>
          <a:prstGeom prst="rect">
            <a:avLst/>
          </a:prstGeom>
        </p:spPr>
        <p:txBody>
          <a:bodyPr wrap="square" lIns="0">
            <a:spAutoFit/>
          </a:bodyPr>
          <a:lstStyle/>
          <a:p>
            <a:r>
              <a:rPr lang="en-US" dirty="0">
                <a:solidFill>
                  <a:srgbClr val="398FD1"/>
                </a:solidFill>
              </a:rPr>
              <a:t>Ensuring grower exporters maximize their revenue and profit when </a:t>
            </a:r>
            <a:r>
              <a:rPr lang="en-US" dirty="0" smtClean="0">
                <a:solidFill>
                  <a:srgbClr val="398FD1"/>
                </a:solidFill>
              </a:rPr>
              <a:t>delivering direct, </a:t>
            </a:r>
            <a:r>
              <a:rPr lang="en-US" dirty="0">
                <a:solidFill>
                  <a:srgbClr val="398FD1"/>
                </a:solidFill>
              </a:rPr>
              <a:t>while reducing cost and increase quality at shop floor level.</a:t>
            </a:r>
          </a:p>
        </p:txBody>
      </p:sp>
      <p:grpSp>
        <p:nvGrpSpPr>
          <p:cNvPr id="4" name="Group 115"/>
          <p:cNvGrpSpPr>
            <a:grpSpLocks/>
          </p:cNvGrpSpPr>
          <p:nvPr/>
        </p:nvGrpSpPr>
        <p:grpSpPr bwMode="auto">
          <a:xfrm>
            <a:off x="444500" y="3429000"/>
            <a:ext cx="8242300" cy="1733550"/>
            <a:chOff x="444500" y="3429000"/>
            <a:chExt cx="8242300" cy="1733424"/>
          </a:xfrm>
        </p:grpSpPr>
        <p:pic>
          <p:nvPicPr>
            <p:cNvPr id="75" name="Picture 55" descr="16"/>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a:off x="3092518" y="4713282"/>
              <a:ext cx="712976" cy="401744"/>
            </a:xfrm>
            <a:prstGeom prst="rect">
              <a:avLst/>
            </a:prstGeom>
            <a:noFill/>
            <a:ln w="9525">
              <a:noFill/>
              <a:miter lim="800000"/>
              <a:headEnd/>
              <a:tailEnd/>
            </a:ln>
          </p:spPr>
        </p:pic>
        <p:pic>
          <p:nvPicPr>
            <p:cNvPr id="76" name="Picture 57"/>
            <p:cNvPicPr>
              <a:picLocks noChangeAspect="1" noChangeArrowheads="1"/>
            </p:cNvPicPr>
            <p:nvPr/>
          </p:nvPicPr>
          <p:blipFill>
            <a:blip r:embed="rId8" cstate="print">
              <a:duotone>
                <a:schemeClr val="bg2">
                  <a:shade val="45000"/>
                  <a:satMod val="135000"/>
                </a:schemeClr>
                <a:prstClr val="white"/>
              </a:duotone>
            </a:blip>
            <a:srcRect/>
            <a:stretch>
              <a:fillRect/>
            </a:stretch>
          </p:blipFill>
          <p:spPr bwMode="auto">
            <a:xfrm>
              <a:off x="6056403" y="4675358"/>
              <a:ext cx="448581" cy="439668"/>
            </a:xfrm>
            <a:prstGeom prst="rect">
              <a:avLst/>
            </a:prstGeom>
            <a:noFill/>
            <a:ln w="9525">
              <a:noFill/>
              <a:miter lim="800000"/>
              <a:headEnd/>
              <a:tailEnd/>
            </a:ln>
          </p:spPr>
        </p:pic>
        <p:pic>
          <p:nvPicPr>
            <p:cNvPr id="77" name="Picture 59" descr="15"/>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532018" y="4754663"/>
              <a:ext cx="641678" cy="360363"/>
            </a:xfrm>
            <a:prstGeom prst="rect">
              <a:avLst/>
            </a:prstGeom>
            <a:noFill/>
            <a:ln w="9525">
              <a:noFill/>
              <a:miter lim="800000"/>
              <a:headEnd/>
              <a:tailEnd/>
            </a:ln>
          </p:spPr>
        </p:pic>
        <p:sp>
          <p:nvSpPr>
            <p:cNvPr id="15369" name="Freeform 126"/>
            <p:cNvSpPr>
              <a:spLocks noChangeArrowheads="1"/>
            </p:cNvSpPr>
            <p:nvPr/>
          </p:nvSpPr>
          <p:spPr bwMode="auto">
            <a:xfrm>
              <a:off x="2524013" y="4612834"/>
              <a:ext cx="280735" cy="502054"/>
            </a:xfrm>
            <a:custGeom>
              <a:avLst/>
              <a:gdLst>
                <a:gd name="T0" fmla="*/ 0 w 333375"/>
                <a:gd name="T1" fmla="*/ 7720 h 628650"/>
                <a:gd name="T2" fmla="*/ 3810 w 333375"/>
                <a:gd name="T3" fmla="*/ 7779 h 628650"/>
                <a:gd name="T4" fmla="*/ 4010 w 333375"/>
                <a:gd name="T5" fmla="*/ 0 h 628650"/>
                <a:gd name="T6" fmla="*/ 13031 w 333375"/>
                <a:gd name="T7" fmla="*/ 59 h 628650"/>
                <a:gd name="T8" fmla="*/ 9824 w 333375"/>
                <a:gd name="T9" fmla="*/ 1473 h 628650"/>
                <a:gd name="T10" fmla="*/ 9824 w 333375"/>
                <a:gd name="T11" fmla="*/ 7779 h 628650"/>
                <a:gd name="T12" fmla="*/ 14034 w 333375"/>
                <a:gd name="T13" fmla="*/ 7779 h 628650"/>
                <a:gd name="T14" fmla="*/ 0 60000 65536"/>
                <a:gd name="T15" fmla="*/ 0 60000 65536"/>
                <a:gd name="T16" fmla="*/ 0 60000 65536"/>
                <a:gd name="T17" fmla="*/ 0 60000 65536"/>
                <a:gd name="T18" fmla="*/ 0 60000 65536"/>
                <a:gd name="T19" fmla="*/ 0 60000 65536"/>
                <a:gd name="T20" fmla="*/ 0 60000 65536"/>
                <a:gd name="T21" fmla="*/ 0 w 333375"/>
                <a:gd name="T22" fmla="*/ 0 h 628650"/>
                <a:gd name="T23" fmla="*/ 333375 w 333375"/>
                <a:gd name="T24" fmla="*/ 628650 h 6286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375" h="628650">
                  <a:moveTo>
                    <a:pt x="0" y="623888"/>
                  </a:moveTo>
                  <a:lnTo>
                    <a:pt x="90487" y="628650"/>
                  </a:lnTo>
                  <a:cubicBezTo>
                    <a:pt x="92075" y="419100"/>
                    <a:pt x="93662" y="209550"/>
                    <a:pt x="95250" y="0"/>
                  </a:cubicBezTo>
                  <a:lnTo>
                    <a:pt x="309562" y="4763"/>
                  </a:lnTo>
                  <a:lnTo>
                    <a:pt x="233362" y="119063"/>
                  </a:lnTo>
                  <a:lnTo>
                    <a:pt x="233362" y="628650"/>
                  </a:lnTo>
                  <a:lnTo>
                    <a:pt x="333375" y="628650"/>
                  </a:lnTo>
                </a:path>
              </a:pathLst>
            </a:custGeom>
            <a:noFill/>
            <a:ln w="28575">
              <a:solidFill>
                <a:srgbClr val="CCCCCC"/>
              </a:solidFill>
              <a:round/>
              <a:headEnd/>
              <a:tailEnd/>
            </a:ln>
          </p:spPr>
          <p:txBody>
            <a:bodyPr anchor="ctr"/>
            <a:lstStyle/>
            <a:p>
              <a:pPr algn="ctr"/>
              <a:endParaRPr lang="en-US">
                <a:solidFill>
                  <a:srgbClr val="231F20"/>
                </a:solidFill>
                <a:latin typeface="Verdana" pitchFamily="34" charset="0"/>
                <a:ea typeface="ＭＳ Ｐゴシック" pitchFamily="34" charset="-128"/>
              </a:endParaRPr>
            </a:p>
          </p:txBody>
        </p:sp>
        <p:sp>
          <p:nvSpPr>
            <p:cNvPr id="15370" name="Freeform 150"/>
            <p:cNvSpPr>
              <a:spLocks noChangeArrowheads="1"/>
            </p:cNvSpPr>
            <p:nvPr/>
          </p:nvSpPr>
          <p:spPr bwMode="auto">
            <a:xfrm flipH="1">
              <a:off x="4146034" y="4611348"/>
              <a:ext cx="280735" cy="503540"/>
            </a:xfrm>
            <a:custGeom>
              <a:avLst/>
              <a:gdLst>
                <a:gd name="T0" fmla="*/ 0 w 333375"/>
                <a:gd name="T1" fmla="*/ 8386 h 628650"/>
                <a:gd name="T2" fmla="*/ 3810 w 333375"/>
                <a:gd name="T3" fmla="*/ 8450 h 628650"/>
                <a:gd name="T4" fmla="*/ 4010 w 333375"/>
                <a:gd name="T5" fmla="*/ 0 h 628650"/>
                <a:gd name="T6" fmla="*/ 13031 w 333375"/>
                <a:gd name="T7" fmla="*/ 64 h 628650"/>
                <a:gd name="T8" fmla="*/ 9824 w 333375"/>
                <a:gd name="T9" fmla="*/ 1600 h 628650"/>
                <a:gd name="T10" fmla="*/ 9824 w 333375"/>
                <a:gd name="T11" fmla="*/ 8450 h 628650"/>
                <a:gd name="T12" fmla="*/ 14033 w 333375"/>
                <a:gd name="T13" fmla="*/ 8450 h 628650"/>
                <a:gd name="T14" fmla="*/ 0 60000 65536"/>
                <a:gd name="T15" fmla="*/ 0 60000 65536"/>
                <a:gd name="T16" fmla="*/ 0 60000 65536"/>
                <a:gd name="T17" fmla="*/ 0 60000 65536"/>
                <a:gd name="T18" fmla="*/ 0 60000 65536"/>
                <a:gd name="T19" fmla="*/ 0 60000 65536"/>
                <a:gd name="T20" fmla="*/ 0 60000 65536"/>
                <a:gd name="T21" fmla="*/ 0 w 333375"/>
                <a:gd name="T22" fmla="*/ 0 h 628650"/>
                <a:gd name="T23" fmla="*/ 333375 w 333375"/>
                <a:gd name="T24" fmla="*/ 628650 h 6286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375" h="628650">
                  <a:moveTo>
                    <a:pt x="0" y="623888"/>
                  </a:moveTo>
                  <a:lnTo>
                    <a:pt x="90487" y="628650"/>
                  </a:lnTo>
                  <a:cubicBezTo>
                    <a:pt x="92075" y="419100"/>
                    <a:pt x="93662" y="209550"/>
                    <a:pt x="95250" y="0"/>
                  </a:cubicBezTo>
                  <a:lnTo>
                    <a:pt x="309562" y="4763"/>
                  </a:lnTo>
                  <a:lnTo>
                    <a:pt x="233362" y="119063"/>
                  </a:lnTo>
                  <a:lnTo>
                    <a:pt x="233362" y="628650"/>
                  </a:lnTo>
                  <a:lnTo>
                    <a:pt x="333375" y="628650"/>
                  </a:lnTo>
                </a:path>
              </a:pathLst>
            </a:custGeom>
            <a:noFill/>
            <a:ln w="28575">
              <a:solidFill>
                <a:srgbClr val="CCCCCC"/>
              </a:solidFill>
              <a:round/>
              <a:headEnd/>
              <a:tailEnd/>
            </a:ln>
          </p:spPr>
          <p:txBody>
            <a:bodyPr anchor="ctr"/>
            <a:lstStyle/>
            <a:p>
              <a:pPr algn="ctr"/>
              <a:endParaRPr lang="en-US">
                <a:solidFill>
                  <a:srgbClr val="231F20"/>
                </a:solidFill>
                <a:latin typeface="Verdana" pitchFamily="34" charset="0"/>
                <a:ea typeface="ＭＳ Ｐゴシック" pitchFamily="34" charset="-128"/>
              </a:endParaRPr>
            </a:p>
          </p:txBody>
        </p:sp>
        <p:pic>
          <p:nvPicPr>
            <p:cNvPr id="84" name="Picture 59" descr="15"/>
            <p:cNvPicPr>
              <a:picLocks noChangeAspect="1" noChangeArrowheads="1"/>
            </p:cNvPicPr>
            <p:nvPr/>
          </p:nvPicPr>
          <p:blipFill>
            <a:blip r:embed="rId9" cstate="print">
              <a:duotone>
                <a:schemeClr val="bg2">
                  <a:shade val="45000"/>
                  <a:satMod val="135000"/>
                </a:schemeClr>
                <a:prstClr val="white"/>
              </a:duotone>
            </a:blip>
            <a:srcRect/>
            <a:stretch>
              <a:fillRect/>
            </a:stretch>
          </p:blipFill>
          <p:spPr bwMode="auto">
            <a:xfrm>
              <a:off x="5010798" y="4754663"/>
              <a:ext cx="641678" cy="360363"/>
            </a:xfrm>
            <a:prstGeom prst="rect">
              <a:avLst/>
            </a:prstGeom>
            <a:noFill/>
            <a:ln w="9525">
              <a:noFill/>
              <a:miter lim="800000"/>
              <a:headEnd/>
              <a:tailEnd/>
            </a:ln>
          </p:spPr>
        </p:pic>
        <p:pic>
          <p:nvPicPr>
            <p:cNvPr id="85" name="Picture 59" descr="15"/>
            <p:cNvPicPr>
              <a:picLocks noChangeAspect="1" noChangeArrowheads="1"/>
            </p:cNvPicPr>
            <p:nvPr/>
          </p:nvPicPr>
          <p:blipFill>
            <a:blip r:embed="rId9" cstate="print">
              <a:duotone>
                <a:schemeClr val="bg2">
                  <a:shade val="45000"/>
                  <a:satMod val="135000"/>
                </a:schemeClr>
                <a:prstClr val="white"/>
              </a:duotone>
            </a:blip>
            <a:srcRect/>
            <a:stretch>
              <a:fillRect/>
            </a:stretch>
          </p:blipFill>
          <p:spPr bwMode="auto">
            <a:xfrm>
              <a:off x="6908911" y="4754663"/>
              <a:ext cx="641678" cy="360363"/>
            </a:xfrm>
            <a:prstGeom prst="rect">
              <a:avLst/>
            </a:prstGeom>
            <a:noFill/>
            <a:ln w="9525">
              <a:noFill/>
              <a:miter lim="800000"/>
              <a:headEnd/>
              <a:tailEnd/>
            </a:ln>
          </p:spPr>
        </p:pic>
        <p:pic>
          <p:nvPicPr>
            <p:cNvPr id="88" name="Picture 243" descr="Airplane_sky blue"/>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3092518" y="4309953"/>
              <a:ext cx="686549" cy="329056"/>
            </a:xfrm>
            <a:prstGeom prst="rect">
              <a:avLst/>
            </a:prstGeom>
            <a:noFill/>
            <a:ln w="9525">
              <a:noFill/>
              <a:miter lim="800000"/>
              <a:headEnd/>
              <a:tailEnd/>
            </a:ln>
          </p:spPr>
        </p:pic>
        <p:pic>
          <p:nvPicPr>
            <p:cNvPr id="89" name="Picture 244" descr="Certificate_sky blue"/>
            <p:cNvPicPr>
              <a:picLocks noChangeAspect="1" noChangeArrowheads="1"/>
            </p:cNvPicPr>
            <p:nvPr/>
          </p:nvPicPr>
          <p:blipFill>
            <a:blip r:embed="rId7" cstate="print">
              <a:duotone>
                <a:schemeClr val="bg2">
                  <a:shade val="45000"/>
                  <a:satMod val="135000"/>
                </a:schemeClr>
                <a:prstClr val="white"/>
              </a:duotone>
            </a:blip>
            <a:srcRect/>
            <a:stretch>
              <a:fillRect/>
            </a:stretch>
          </p:blipFill>
          <p:spPr bwMode="auto">
            <a:xfrm>
              <a:off x="2257205" y="4309953"/>
              <a:ext cx="267366" cy="404020"/>
            </a:xfrm>
            <a:prstGeom prst="rect">
              <a:avLst/>
            </a:prstGeom>
            <a:noFill/>
            <a:ln w="9525">
              <a:noFill/>
              <a:miter lim="800000"/>
              <a:headEnd/>
              <a:tailEnd/>
            </a:ln>
          </p:spPr>
        </p:pic>
        <p:pic>
          <p:nvPicPr>
            <p:cNvPr id="90" name="Picture 244" descr="Certificate_sky blue"/>
            <p:cNvPicPr>
              <a:picLocks noChangeAspect="1" noChangeArrowheads="1"/>
            </p:cNvPicPr>
            <p:nvPr/>
          </p:nvPicPr>
          <p:blipFill>
            <a:blip r:embed="rId7" cstate="print">
              <a:duotone>
                <a:schemeClr val="bg2">
                  <a:shade val="45000"/>
                  <a:satMod val="135000"/>
                </a:schemeClr>
                <a:prstClr val="white"/>
              </a:duotone>
            </a:blip>
            <a:srcRect/>
            <a:stretch>
              <a:fillRect/>
            </a:stretch>
          </p:blipFill>
          <p:spPr bwMode="auto">
            <a:xfrm>
              <a:off x="4430746" y="4309953"/>
              <a:ext cx="267366" cy="404020"/>
            </a:xfrm>
            <a:prstGeom prst="rect">
              <a:avLst/>
            </a:prstGeom>
            <a:noFill/>
            <a:ln w="9525">
              <a:noFill/>
              <a:miter lim="800000"/>
              <a:headEnd/>
              <a:tailEnd/>
            </a:ln>
          </p:spPr>
        </p:pic>
        <p:sp>
          <p:nvSpPr>
            <p:cNvPr id="92" name="Rectangle 36"/>
            <p:cNvSpPr>
              <a:spLocks noChangeArrowheads="1"/>
            </p:cNvSpPr>
            <p:nvPr/>
          </p:nvSpPr>
          <p:spPr bwMode="auto">
            <a:xfrm>
              <a:off x="444500" y="4159197"/>
              <a:ext cx="7277100" cy="1003227"/>
            </a:xfrm>
            <a:prstGeom prst="rect">
              <a:avLst/>
            </a:prstGeom>
            <a:noFill/>
            <a:ln w="28575">
              <a:solidFill>
                <a:schemeClr val="accent4"/>
              </a:solidFill>
              <a:round/>
              <a:headEnd/>
              <a:tailEnd/>
            </a:ln>
          </p:spPr>
          <p:txBody>
            <a:bodyPr wrap="none" lIns="90000" tIns="46800" rIns="90000" bIns="46800"/>
            <a:lstStyle/>
            <a:p>
              <a:pPr>
                <a:defRPr/>
              </a:pPr>
              <a:endParaRPr lang="en-GB">
                <a:solidFill>
                  <a:srgbClr val="231F20"/>
                </a:solidFill>
                <a:latin typeface="Verdana" charset="0"/>
                <a:ea typeface="ＭＳ Ｐゴシック" charset="-128"/>
                <a:cs typeface="ＭＳ Ｐゴシック" charset="-128"/>
              </a:endParaRPr>
            </a:p>
          </p:txBody>
        </p:sp>
        <p:sp>
          <p:nvSpPr>
            <p:cNvPr id="93" name="TextBox 37"/>
            <p:cNvSpPr txBox="1">
              <a:spLocks noChangeArrowheads="1"/>
            </p:cNvSpPr>
            <p:nvPr/>
          </p:nvSpPr>
          <p:spPr bwMode="auto">
            <a:xfrm>
              <a:off x="444500" y="4159197"/>
              <a:ext cx="935038" cy="461929"/>
            </a:xfrm>
            <a:prstGeom prst="rect">
              <a:avLst/>
            </a:prstGeom>
            <a:noFill/>
            <a:ln w="9525">
              <a:noFill/>
              <a:miter lim="800000"/>
              <a:headEnd/>
              <a:tailEnd/>
            </a:ln>
          </p:spPr>
          <p:txBody>
            <a:bodyPr>
              <a:spAutoFit/>
            </a:bodyPr>
            <a:lstStyle/>
            <a:p>
              <a:r>
                <a:rPr lang="en-GB" sz="1200">
                  <a:solidFill>
                    <a:srgbClr val="3C5BA3"/>
                  </a:solidFill>
                  <a:latin typeface="Verdana" pitchFamily="34" charset="0"/>
                  <a:ea typeface="ＭＳ Ｐゴシック" pitchFamily="34" charset="-128"/>
                </a:rPr>
                <a:t>Grower’s control</a:t>
              </a:r>
            </a:p>
          </p:txBody>
        </p:sp>
        <p:sp>
          <p:nvSpPr>
            <p:cNvPr id="15378" name="Rectangle 38"/>
            <p:cNvSpPr>
              <a:spLocks noChangeArrowheads="1"/>
            </p:cNvSpPr>
            <p:nvPr/>
          </p:nvSpPr>
          <p:spPr bwMode="auto">
            <a:xfrm>
              <a:off x="7721599" y="4159801"/>
              <a:ext cx="965201" cy="1002623"/>
            </a:xfrm>
            <a:prstGeom prst="rect">
              <a:avLst/>
            </a:prstGeom>
            <a:noFill/>
            <a:ln w="28575">
              <a:solidFill>
                <a:srgbClr val="37B551"/>
              </a:solidFill>
              <a:round/>
              <a:headEnd/>
              <a:tailEnd/>
            </a:ln>
          </p:spPr>
          <p:txBody>
            <a:bodyPr wrap="none" lIns="90000" tIns="46800" rIns="90000" bIns="46800"/>
            <a:lstStyle/>
            <a:p>
              <a:endParaRPr lang="en-GB">
                <a:solidFill>
                  <a:srgbClr val="EF4135"/>
                </a:solidFill>
                <a:latin typeface="Verdana" pitchFamily="34" charset="0"/>
                <a:ea typeface="ＭＳ Ｐゴシック" pitchFamily="34" charset="-128"/>
              </a:endParaRPr>
            </a:p>
          </p:txBody>
        </p:sp>
        <p:sp>
          <p:nvSpPr>
            <p:cNvPr id="15379" name="TextBox 39"/>
            <p:cNvSpPr txBox="1">
              <a:spLocks noChangeArrowheads="1"/>
            </p:cNvSpPr>
            <p:nvPr/>
          </p:nvSpPr>
          <p:spPr bwMode="auto">
            <a:xfrm>
              <a:off x="7725767" y="4159801"/>
              <a:ext cx="947664" cy="461665"/>
            </a:xfrm>
            <a:prstGeom prst="rect">
              <a:avLst/>
            </a:prstGeom>
            <a:noFill/>
            <a:ln w="9525">
              <a:noFill/>
              <a:miter lim="800000"/>
              <a:headEnd/>
              <a:tailEnd/>
            </a:ln>
          </p:spPr>
          <p:txBody>
            <a:bodyPr>
              <a:spAutoFit/>
            </a:bodyPr>
            <a:lstStyle/>
            <a:p>
              <a:r>
                <a:rPr lang="en-GB" sz="1200">
                  <a:solidFill>
                    <a:srgbClr val="37B551"/>
                  </a:solidFill>
                  <a:latin typeface="Verdana" pitchFamily="34" charset="0"/>
                  <a:ea typeface="ＭＳ Ｐゴシック" pitchFamily="34" charset="-128"/>
                </a:rPr>
                <a:t>Retailer’s control</a:t>
              </a:r>
            </a:p>
          </p:txBody>
        </p:sp>
        <p:pic>
          <p:nvPicPr>
            <p:cNvPr id="102" name="Picture 257" descr="Shop_sky blue"/>
            <p:cNvPicPr>
              <a:picLocks noChangeAspect="1" noChangeArrowheads="1"/>
            </p:cNvPicPr>
            <p:nvPr/>
          </p:nvPicPr>
          <p:blipFill>
            <a:blip r:embed="rId5" cstate="print">
              <a:duotone>
                <a:schemeClr val="bg2">
                  <a:shade val="45000"/>
                  <a:satMod val="135000"/>
                </a:schemeClr>
                <a:prstClr val="white"/>
              </a:duotone>
            </a:blip>
            <a:srcRect/>
            <a:stretch>
              <a:fillRect/>
            </a:stretch>
          </p:blipFill>
          <p:spPr bwMode="auto">
            <a:xfrm>
              <a:off x="606405" y="4599469"/>
              <a:ext cx="680298" cy="518394"/>
            </a:xfrm>
            <a:prstGeom prst="rect">
              <a:avLst/>
            </a:prstGeom>
            <a:noFill/>
            <a:ln w="9525">
              <a:noFill/>
              <a:miter lim="800000"/>
              <a:headEnd/>
              <a:tailEnd/>
            </a:ln>
          </p:spPr>
        </p:pic>
        <p:sp>
          <p:nvSpPr>
            <p:cNvPr id="103" name="Rectangle 258"/>
            <p:cNvSpPr>
              <a:spLocks noChangeArrowheads="1"/>
            </p:cNvSpPr>
            <p:nvPr/>
          </p:nvSpPr>
          <p:spPr bwMode="auto">
            <a:xfrm>
              <a:off x="742950" y="4724306"/>
              <a:ext cx="403225" cy="149214"/>
            </a:xfrm>
            <a:prstGeom prst="rect">
              <a:avLst/>
            </a:prstGeom>
            <a:solidFill>
              <a:srgbClr val="FFFFFF"/>
            </a:solidFill>
            <a:ln w="9525">
              <a:noFill/>
              <a:miter lim="800000"/>
              <a:headEnd/>
              <a:tailEnd/>
            </a:ln>
          </p:spPr>
          <p:txBody>
            <a:bodyPr wrap="none" lIns="90000" tIns="46800" rIns="90000" bIns="46800" anchor="ctr"/>
            <a:lstStyle/>
            <a:p>
              <a:pPr>
                <a:defRPr/>
              </a:pPr>
              <a:r>
                <a:rPr lang="en-GB" sz="800" dirty="0">
                  <a:solidFill>
                    <a:schemeClr val="bg2">
                      <a:lumMod val="50000"/>
                      <a:lumOff val="50000"/>
                    </a:schemeClr>
                  </a:solidFill>
                  <a:latin typeface="Verdana" charset="0"/>
                  <a:ea typeface="ＭＳ Ｐゴシック" charset="-128"/>
                  <a:cs typeface="ＭＳ Ｐゴシック" charset="-128"/>
                </a:rPr>
                <a:t>FARM</a:t>
              </a:r>
            </a:p>
          </p:txBody>
        </p:sp>
        <p:pic>
          <p:nvPicPr>
            <p:cNvPr id="101" name="Picture 257" descr="Shop_sky blue"/>
            <p:cNvPicPr>
              <a:picLocks noChangeAspect="1" noChangeArrowheads="1"/>
            </p:cNvPicPr>
            <p:nvPr/>
          </p:nvPicPr>
          <p:blipFill>
            <a:blip r:embed="rId5" cstate="print">
              <a:duotone>
                <a:schemeClr val="bg2">
                  <a:shade val="45000"/>
                  <a:satMod val="135000"/>
                </a:schemeClr>
                <a:prstClr val="white"/>
              </a:duotone>
            </a:blip>
            <a:srcRect/>
            <a:stretch>
              <a:fillRect/>
            </a:stretch>
          </p:blipFill>
          <p:spPr bwMode="auto">
            <a:xfrm>
              <a:off x="7849053" y="4599469"/>
              <a:ext cx="680298" cy="518394"/>
            </a:xfrm>
            <a:prstGeom prst="rect">
              <a:avLst/>
            </a:prstGeom>
            <a:noFill/>
            <a:ln w="9525">
              <a:noFill/>
              <a:miter lim="800000"/>
              <a:headEnd/>
              <a:tailEnd/>
            </a:ln>
          </p:spPr>
        </p:pic>
        <p:sp>
          <p:nvSpPr>
            <p:cNvPr id="104" name="Rectangle 258"/>
            <p:cNvSpPr>
              <a:spLocks noChangeArrowheads="1"/>
            </p:cNvSpPr>
            <p:nvPr/>
          </p:nvSpPr>
          <p:spPr bwMode="auto">
            <a:xfrm>
              <a:off x="7985125" y="4724306"/>
              <a:ext cx="403225" cy="149214"/>
            </a:xfrm>
            <a:prstGeom prst="rect">
              <a:avLst/>
            </a:prstGeom>
            <a:solidFill>
              <a:srgbClr val="FFFFFF"/>
            </a:solidFill>
            <a:ln w="9525">
              <a:noFill/>
              <a:miter lim="800000"/>
              <a:headEnd/>
              <a:tailEnd/>
            </a:ln>
          </p:spPr>
          <p:txBody>
            <a:bodyPr wrap="none" lIns="0" tIns="0" rIns="0" bIns="0" anchor="ctr"/>
            <a:lstStyle/>
            <a:p>
              <a:pPr algn="ctr">
                <a:defRPr/>
              </a:pPr>
              <a:r>
                <a:rPr lang="en-GB" sz="800" dirty="0">
                  <a:solidFill>
                    <a:schemeClr val="bg1">
                      <a:lumMod val="75000"/>
                    </a:schemeClr>
                  </a:solidFill>
                  <a:latin typeface="Verdana" charset="0"/>
                  <a:ea typeface="ＭＳ Ｐゴシック" charset="-128"/>
                  <a:cs typeface="ＭＳ Ｐゴシック" charset="-128"/>
                </a:rPr>
                <a:t>SHOP</a:t>
              </a:r>
            </a:p>
          </p:txBody>
        </p:sp>
        <p:sp>
          <p:nvSpPr>
            <p:cNvPr id="91" name="Down Arrow 60"/>
            <p:cNvSpPr>
              <a:spLocks noChangeArrowheads="1"/>
            </p:cNvSpPr>
            <p:nvPr/>
          </p:nvSpPr>
          <p:spPr bwMode="auto">
            <a:xfrm>
              <a:off x="4262438" y="3429000"/>
              <a:ext cx="641350" cy="357162"/>
            </a:xfrm>
            <a:prstGeom prst="downArrow">
              <a:avLst>
                <a:gd name="adj1" fmla="val 50000"/>
                <a:gd name="adj2" fmla="val 50000"/>
              </a:avLst>
            </a:prstGeom>
            <a:noFill/>
            <a:ln w="28575" cap="flat" cmpd="sng" algn="ctr">
              <a:solidFill>
                <a:schemeClr val="accent4"/>
              </a:solidFill>
              <a:prstDash val="solid"/>
              <a:round/>
              <a:headEnd type="none" w="med" len="med"/>
              <a:tailEnd type="none" w="med" len="med"/>
            </a:ln>
          </p:spPr>
          <p:txBody>
            <a:bodyPr wrap="none" lIns="90000" tIns="46800" rIns="90000" bIns="46800"/>
            <a:lstStyle/>
            <a:p>
              <a:pPr eaLnBrk="0" hangingPunct="0">
                <a:spcBef>
                  <a:spcPct val="50000"/>
                </a:spcBef>
                <a:defRPr/>
              </a:pPr>
              <a:endParaRPr lang="en-US">
                <a:ea typeface="Arial" charset="0"/>
              </a:endParaRPr>
            </a:p>
          </p:txBody>
        </p:sp>
        <p:sp>
          <p:nvSpPr>
            <p:cNvPr id="15385" name="TextBox 37"/>
            <p:cNvSpPr txBox="1">
              <a:spLocks noChangeArrowheads="1"/>
            </p:cNvSpPr>
            <p:nvPr/>
          </p:nvSpPr>
          <p:spPr bwMode="auto">
            <a:xfrm>
              <a:off x="457869" y="3776246"/>
              <a:ext cx="4942804" cy="338554"/>
            </a:xfrm>
            <a:prstGeom prst="rect">
              <a:avLst/>
            </a:prstGeom>
            <a:noFill/>
            <a:ln w="9525">
              <a:noFill/>
              <a:miter lim="800000"/>
              <a:headEnd/>
              <a:tailEnd/>
            </a:ln>
          </p:spPr>
          <p:txBody>
            <a:bodyPr lIns="0">
              <a:spAutoFit/>
            </a:bodyPr>
            <a:lstStyle/>
            <a:p>
              <a:r>
                <a:rPr lang="en-GB" sz="1600">
                  <a:solidFill>
                    <a:srgbClr val="333333"/>
                  </a:solidFill>
                  <a:latin typeface="Verdana" pitchFamily="34" charset="0"/>
                  <a:ea typeface="ＭＳ Ｐゴシック" pitchFamily="34" charset="-128"/>
                </a:rPr>
                <a:t>Retail (Optimize Logistics Direct to Retailer)</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3"/>
                                        </p:tgtEl>
                                        <p:attrNameLst>
                                          <p:attrName>style.visibility</p:attrName>
                                        </p:attrNameLst>
                                      </p:cBhvr>
                                      <p:to>
                                        <p:strVal val="visible"/>
                                      </p:to>
                                    </p:set>
                                    <p:animEffect transition="in" filter="fade">
                                      <p:cBhvr>
                                        <p:cTn id="17"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r>
              <a:rPr lang="es-CR" dirty="0" smtClean="0">
                <a:ea typeface="ＭＳ Ｐゴシック" pitchFamily="34" charset="-128"/>
              </a:rPr>
              <a:t>Deje de recibir en su puerta</a:t>
            </a:r>
            <a:br>
              <a:rPr lang="es-CR" dirty="0" smtClean="0">
                <a:ea typeface="ＭＳ Ｐゴシック" pitchFamily="34" charset="-128"/>
              </a:rPr>
            </a:br>
            <a:r>
              <a:rPr lang="es-CR" dirty="0" smtClean="0">
                <a:ea typeface="ＭＳ Ｐゴシック" pitchFamily="34" charset="-128"/>
              </a:rPr>
              <a:t>Comience a comprar en Origen</a:t>
            </a:r>
          </a:p>
        </p:txBody>
      </p:sp>
      <p:sp>
        <p:nvSpPr>
          <p:cNvPr id="66565" name="Content Placeholder 2"/>
          <p:cNvSpPr>
            <a:spLocks noGrp="1"/>
          </p:cNvSpPr>
          <p:nvPr>
            <p:ph sz="half" idx="1"/>
          </p:nvPr>
        </p:nvSpPr>
        <p:spPr>
          <a:xfrm>
            <a:off x="457200" y="1484313"/>
            <a:ext cx="4038600" cy="4641850"/>
          </a:xfrm>
        </p:spPr>
        <p:txBody>
          <a:bodyPr/>
          <a:lstStyle/>
          <a:p>
            <a:pPr marL="0" indent="0">
              <a:buFont typeface="Arial" charset="0"/>
              <a:buNone/>
            </a:pPr>
            <a:r>
              <a:rPr lang="es-CR" dirty="0" smtClean="0">
                <a:ea typeface="ＭＳ Ｐゴシック" pitchFamily="34" charset="-128"/>
              </a:rPr>
              <a:t>Ofreciendo muchos beneficios y minimizando riesgos:</a:t>
            </a:r>
          </a:p>
          <a:p>
            <a:pPr marL="0" indent="0"/>
            <a:r>
              <a:rPr lang="es-CR" dirty="0" smtClean="0">
                <a:ea typeface="ＭＳ Ｐゴシック" pitchFamily="34" charset="-128"/>
              </a:rPr>
              <a:t>Incrementando la </a:t>
            </a:r>
            <a:r>
              <a:rPr lang="es-CR" dirty="0" smtClean="0">
                <a:solidFill>
                  <a:srgbClr val="398FD1"/>
                </a:solidFill>
                <a:ea typeface="ＭＳ Ｐゴシック" pitchFamily="34" charset="-128"/>
              </a:rPr>
              <a:t>Confianza </a:t>
            </a:r>
            <a:r>
              <a:rPr lang="es-CR" dirty="0" smtClean="0">
                <a:ea typeface="ＭＳ Ｐゴシック" pitchFamily="34" charset="-128"/>
              </a:rPr>
              <a:t/>
            </a:r>
            <a:br>
              <a:rPr lang="es-CR" dirty="0" smtClean="0">
                <a:ea typeface="ＭＳ Ｐゴシック" pitchFamily="34" charset="-128"/>
              </a:rPr>
            </a:br>
            <a:r>
              <a:rPr lang="es-CR" sz="1400" dirty="0" smtClean="0">
                <a:ea typeface="ＭＳ Ｐゴシック" pitchFamily="34" charset="-128"/>
              </a:rPr>
              <a:t>(Controlando la cadena)</a:t>
            </a:r>
            <a:endParaRPr lang="es-CR" dirty="0" smtClean="0">
              <a:ea typeface="ＭＳ Ｐゴシック" pitchFamily="34" charset="-128"/>
            </a:endParaRPr>
          </a:p>
          <a:p>
            <a:pPr marL="0" indent="0"/>
            <a:r>
              <a:rPr lang="es-CR" dirty="0" smtClean="0">
                <a:ea typeface="ＭＳ Ｐゴシック" pitchFamily="34" charset="-128"/>
              </a:rPr>
              <a:t>Incrementando el </a:t>
            </a:r>
            <a:r>
              <a:rPr lang="es-CR" dirty="0" smtClean="0">
                <a:solidFill>
                  <a:srgbClr val="398FD1"/>
                </a:solidFill>
                <a:ea typeface="ＭＳ Ｐゴシック" pitchFamily="34" charset="-128"/>
              </a:rPr>
              <a:t>Servicio </a:t>
            </a:r>
            <a:r>
              <a:rPr lang="es-CR" dirty="0" smtClean="0">
                <a:ea typeface="ＭＳ Ｐゴシック" pitchFamily="34" charset="-128"/>
              </a:rPr>
              <a:t/>
            </a:r>
            <a:br>
              <a:rPr lang="es-CR" dirty="0" smtClean="0">
                <a:ea typeface="ＭＳ Ｐゴシック" pitchFamily="34" charset="-128"/>
              </a:rPr>
            </a:br>
            <a:r>
              <a:rPr lang="es-CR" sz="1400" dirty="0" smtClean="0">
                <a:ea typeface="ＭＳ Ｐゴシック" pitchFamily="34" charset="-128"/>
              </a:rPr>
              <a:t>(Rápido y Flexible)</a:t>
            </a:r>
            <a:endParaRPr lang="es-CR" dirty="0" smtClean="0">
              <a:ea typeface="ＭＳ Ｐゴシック" pitchFamily="34" charset="-128"/>
            </a:endParaRPr>
          </a:p>
          <a:p>
            <a:pPr marL="0" indent="0"/>
            <a:r>
              <a:rPr lang="es-CR" dirty="0" smtClean="0">
                <a:ea typeface="ＭＳ Ｐゴシック" pitchFamily="34" charset="-128"/>
              </a:rPr>
              <a:t>Reduciendo </a:t>
            </a:r>
            <a:r>
              <a:rPr lang="es-CR" dirty="0" smtClean="0">
                <a:solidFill>
                  <a:srgbClr val="398FD1"/>
                </a:solidFill>
                <a:ea typeface="ＭＳ Ｐゴシック" pitchFamily="34" charset="-128"/>
              </a:rPr>
              <a:t>Costos</a:t>
            </a:r>
            <a:r>
              <a:rPr lang="es-CR" dirty="0" smtClean="0">
                <a:ea typeface="ＭＳ Ｐゴシック" pitchFamily="34" charset="-128"/>
              </a:rPr>
              <a:t> </a:t>
            </a:r>
            <a:br>
              <a:rPr lang="es-CR" dirty="0" smtClean="0">
                <a:ea typeface="ＭＳ Ｐゴシック" pitchFamily="34" charset="-128"/>
              </a:rPr>
            </a:br>
            <a:r>
              <a:rPr lang="es-CR" sz="1400" dirty="0" smtClean="0">
                <a:ea typeface="ＭＳ Ｐゴシック" pitchFamily="34" charset="-128"/>
              </a:rPr>
              <a:t>(Ahorros de hasta un 20%) </a:t>
            </a:r>
            <a:endParaRPr lang="es-CR" dirty="0" smtClean="0">
              <a:ea typeface="ＭＳ Ｐゴシック" pitchFamily="34" charset="-128"/>
            </a:endParaRPr>
          </a:p>
          <a:p>
            <a:pPr marL="0" indent="0"/>
            <a:r>
              <a:rPr lang="es-CR" dirty="0" smtClean="0">
                <a:ea typeface="ＭＳ Ｐゴシック" pitchFamily="34" charset="-128"/>
              </a:rPr>
              <a:t>Reduciendo </a:t>
            </a:r>
            <a:r>
              <a:rPr lang="es-CR" dirty="0" smtClean="0">
                <a:solidFill>
                  <a:srgbClr val="398FD1"/>
                </a:solidFill>
                <a:ea typeface="ＭＳ Ｐゴシック" pitchFamily="34" charset="-128"/>
              </a:rPr>
              <a:t>Riesgos</a:t>
            </a:r>
            <a:r>
              <a:rPr lang="es-CR" dirty="0" smtClean="0">
                <a:ea typeface="ＭＳ Ｐゴシック" pitchFamily="34" charset="-128"/>
              </a:rPr>
              <a:t/>
            </a:r>
            <a:br>
              <a:rPr lang="es-CR" dirty="0" smtClean="0">
                <a:ea typeface="ＭＳ Ｐゴシック" pitchFamily="34" charset="-128"/>
              </a:rPr>
            </a:br>
            <a:r>
              <a:rPr lang="es-CR" sz="1400" dirty="0" smtClean="0">
                <a:ea typeface="ＭＳ Ｐゴシック" pitchFamily="34" charset="-128"/>
              </a:rPr>
              <a:t>(Optimizando las condiciones) </a:t>
            </a:r>
            <a:endParaRPr lang="es-CR" dirty="0" smtClean="0">
              <a:ea typeface="ＭＳ Ｐゴシック" pitchFamily="34" charset="-128"/>
            </a:endParaRPr>
          </a:p>
          <a:p>
            <a:pPr marL="0" indent="0"/>
            <a:r>
              <a:rPr lang="es-CR" dirty="0" smtClean="0">
                <a:ea typeface="ＭＳ Ｐゴシック" pitchFamily="34" charset="-128"/>
              </a:rPr>
              <a:t>Incrementando la </a:t>
            </a:r>
            <a:r>
              <a:rPr lang="es-CR" dirty="0" smtClean="0">
                <a:solidFill>
                  <a:srgbClr val="398FD1"/>
                </a:solidFill>
                <a:ea typeface="ＭＳ Ｐゴシック" pitchFamily="34" charset="-128"/>
              </a:rPr>
              <a:t>Sostenibilidad</a:t>
            </a:r>
            <a:r>
              <a:rPr lang="es-CR" dirty="0" smtClean="0">
                <a:ea typeface="ＭＳ Ｐゴシック" pitchFamily="34" charset="-128"/>
              </a:rPr>
              <a:t> </a:t>
            </a:r>
            <a:r>
              <a:rPr lang="es-CR" sz="1400" dirty="0" smtClean="0">
                <a:ea typeface="ＭＳ Ｐゴシック" pitchFamily="34" charset="-128"/>
              </a:rPr>
              <a:t>(Menos emisiones de CO2)</a:t>
            </a:r>
            <a:endParaRPr lang="es-CR" dirty="0" smtClean="0">
              <a:ea typeface="ＭＳ Ｐゴシック" pitchFamily="34" charset="-128"/>
            </a:endParaRPr>
          </a:p>
          <a:p>
            <a:pPr marL="0" indent="0"/>
            <a:r>
              <a:rPr lang="es-CR" dirty="0" smtClean="0">
                <a:ea typeface="ＭＳ Ｐゴシック" pitchFamily="34" charset="-128"/>
              </a:rPr>
              <a:t>Reduciendo la </a:t>
            </a:r>
            <a:r>
              <a:rPr lang="es-CR" dirty="0" smtClean="0">
                <a:solidFill>
                  <a:srgbClr val="398FD1"/>
                </a:solidFill>
                <a:ea typeface="ＭＳ Ｐゴシック" pitchFamily="34" charset="-128"/>
              </a:rPr>
              <a:t>Complejidad </a:t>
            </a:r>
            <a:r>
              <a:rPr lang="es-CR" dirty="0" smtClean="0">
                <a:ea typeface="ＭＳ Ｐゴシック" pitchFamily="34" charset="-128"/>
              </a:rPr>
              <a:t/>
            </a:r>
            <a:br>
              <a:rPr lang="es-CR" dirty="0" smtClean="0">
                <a:ea typeface="ＭＳ Ｐゴシック" pitchFamily="34" charset="-128"/>
              </a:rPr>
            </a:br>
            <a:r>
              <a:rPr lang="es-CR" sz="1400" dirty="0" smtClean="0">
                <a:ea typeface="ＭＳ Ｐゴシック" pitchFamily="34" charset="-128"/>
              </a:rPr>
              <a:t>(Un Solo Contacto)</a:t>
            </a:r>
            <a:endParaRPr lang="es-CR" dirty="0" smtClean="0">
              <a:ea typeface="ＭＳ Ｐゴシック" pitchFamily="34" charset="-128"/>
            </a:endParaRPr>
          </a:p>
        </p:txBody>
      </p:sp>
      <p:pic>
        <p:nvPicPr>
          <p:cNvPr id="19460" name="Content Placeholder 5" descr="_MG_1375.jpg"/>
          <p:cNvPicPr>
            <a:picLocks noGrp="1" noChangeAspect="1"/>
          </p:cNvPicPr>
          <p:nvPr>
            <p:ph sz="half" idx="2"/>
          </p:nvPr>
        </p:nvPicPr>
        <p:blipFill>
          <a:blip r:embed="rId3" cstate="print"/>
          <a:srcRect l="22221" t="6061" r="23232" b="10606"/>
          <a:stretch>
            <a:fillRect/>
          </a:stretch>
        </p:blipFill>
        <p:spPr>
          <a:xfrm>
            <a:off x="4572000" y="1600200"/>
            <a:ext cx="4114800" cy="4191000"/>
          </a:xfrm>
        </p:spPr>
      </p:pic>
      <p:sp>
        <p:nvSpPr>
          <p:cNvPr id="7" name="Kombinationstegning 9"/>
          <p:cNvSpPr/>
          <p:nvPr/>
        </p:nvSpPr>
        <p:spPr bwMode="white">
          <a:xfrm>
            <a:off x="4221163" y="5562600"/>
            <a:ext cx="584200" cy="574675"/>
          </a:xfrm>
          <a:custGeom>
            <a:avLst/>
            <a:gdLst>
              <a:gd name="connsiteX0" fmla="*/ 0 w 1368152"/>
              <a:gd name="connsiteY0" fmla="*/ 228030 h 1368152"/>
              <a:gd name="connsiteX1" fmla="*/ 228030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8" fmla="*/ 0 w 1368152"/>
              <a:gd name="connsiteY8" fmla="*/ 228030 h 1368152"/>
              <a:gd name="connsiteX0" fmla="*/ 0 w 1368152"/>
              <a:gd name="connsiteY0" fmla="*/ 1140122 h 1368152"/>
              <a:gd name="connsiteX1" fmla="*/ 228030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0" fmla="*/ 0 w 1368152"/>
              <a:gd name="connsiteY0" fmla="*/ 1140122 h 1368152"/>
              <a:gd name="connsiteX1" fmla="*/ 792088 w 1368152"/>
              <a:gd name="connsiteY1" fmla="*/ 0 h 1368152"/>
              <a:gd name="connsiteX2" fmla="*/ 1140122 w 1368152"/>
              <a:gd name="connsiteY2" fmla="*/ 0 h 1368152"/>
              <a:gd name="connsiteX3" fmla="*/ 1368152 w 1368152"/>
              <a:gd name="connsiteY3" fmla="*/ 228030 h 1368152"/>
              <a:gd name="connsiteX4" fmla="*/ 1368152 w 1368152"/>
              <a:gd name="connsiteY4" fmla="*/ 1140122 h 1368152"/>
              <a:gd name="connsiteX5" fmla="*/ 1140122 w 1368152"/>
              <a:gd name="connsiteY5" fmla="*/ 1368152 h 1368152"/>
              <a:gd name="connsiteX6" fmla="*/ 228030 w 1368152"/>
              <a:gd name="connsiteY6" fmla="*/ 1368152 h 1368152"/>
              <a:gd name="connsiteX7" fmla="*/ 0 w 1368152"/>
              <a:gd name="connsiteY7" fmla="*/ 1140122 h 1368152"/>
              <a:gd name="connsiteX0" fmla="*/ 58006 w 1198128"/>
              <a:gd name="connsiteY0" fmla="*/ 1368152 h 1368152"/>
              <a:gd name="connsiteX1" fmla="*/ 622064 w 1198128"/>
              <a:gd name="connsiteY1" fmla="*/ 0 h 1368152"/>
              <a:gd name="connsiteX2" fmla="*/ 970098 w 1198128"/>
              <a:gd name="connsiteY2" fmla="*/ 0 h 1368152"/>
              <a:gd name="connsiteX3" fmla="*/ 1198128 w 1198128"/>
              <a:gd name="connsiteY3" fmla="*/ 228030 h 1368152"/>
              <a:gd name="connsiteX4" fmla="*/ 1198128 w 1198128"/>
              <a:gd name="connsiteY4" fmla="*/ 1140122 h 1368152"/>
              <a:gd name="connsiteX5" fmla="*/ 970098 w 1198128"/>
              <a:gd name="connsiteY5" fmla="*/ 1368152 h 1368152"/>
              <a:gd name="connsiteX6" fmla="*/ 58006 w 1198128"/>
              <a:gd name="connsiteY6" fmla="*/ 1368152 h 1368152"/>
              <a:gd name="connsiteX0" fmla="*/ 348034 w 576064"/>
              <a:gd name="connsiteY0" fmla="*/ 1368152 h 1368152"/>
              <a:gd name="connsiteX1" fmla="*/ 0 w 576064"/>
              <a:gd name="connsiteY1" fmla="*/ 0 h 1368152"/>
              <a:gd name="connsiteX2" fmla="*/ 348034 w 576064"/>
              <a:gd name="connsiteY2" fmla="*/ 0 h 1368152"/>
              <a:gd name="connsiteX3" fmla="*/ 576064 w 576064"/>
              <a:gd name="connsiteY3" fmla="*/ 228030 h 1368152"/>
              <a:gd name="connsiteX4" fmla="*/ 576064 w 576064"/>
              <a:gd name="connsiteY4" fmla="*/ 1140122 h 1368152"/>
              <a:gd name="connsiteX5" fmla="*/ 348034 w 576064"/>
              <a:gd name="connsiteY5" fmla="*/ 1368152 h 1368152"/>
              <a:gd name="connsiteX0" fmla="*/ 348034 w 576064"/>
              <a:gd name="connsiteY0" fmla="*/ 1368152 h 1368152"/>
              <a:gd name="connsiteX1" fmla="*/ 0 w 576064"/>
              <a:gd name="connsiteY1" fmla="*/ 0 h 1368152"/>
              <a:gd name="connsiteX2" fmla="*/ 348034 w 576064"/>
              <a:gd name="connsiteY2" fmla="*/ 0 h 1368152"/>
              <a:gd name="connsiteX3" fmla="*/ 576064 w 576064"/>
              <a:gd name="connsiteY3" fmla="*/ 228030 h 1368152"/>
              <a:gd name="connsiteX4" fmla="*/ 576064 w 576064"/>
              <a:gd name="connsiteY4" fmla="*/ 576064 h 1368152"/>
              <a:gd name="connsiteX5" fmla="*/ 348034 w 576064"/>
              <a:gd name="connsiteY5" fmla="*/ 1368152 h 1368152"/>
              <a:gd name="connsiteX0" fmla="*/ 0 w 576064"/>
              <a:gd name="connsiteY0" fmla="*/ 648072 h 648072"/>
              <a:gd name="connsiteX1" fmla="*/ 0 w 576064"/>
              <a:gd name="connsiteY1" fmla="*/ 0 h 648072"/>
              <a:gd name="connsiteX2" fmla="*/ 348034 w 576064"/>
              <a:gd name="connsiteY2" fmla="*/ 0 h 648072"/>
              <a:gd name="connsiteX3" fmla="*/ 576064 w 576064"/>
              <a:gd name="connsiteY3" fmla="*/ 228030 h 648072"/>
              <a:gd name="connsiteX4" fmla="*/ 576064 w 576064"/>
              <a:gd name="connsiteY4" fmla="*/ 576064 h 648072"/>
              <a:gd name="connsiteX5" fmla="*/ 0 w 576064"/>
              <a:gd name="connsiteY5" fmla="*/ 648072 h 648072"/>
              <a:gd name="connsiteX0" fmla="*/ 1182 w 577246"/>
              <a:gd name="connsiteY0" fmla="*/ 648072 h 665362"/>
              <a:gd name="connsiteX1" fmla="*/ 1182 w 577246"/>
              <a:gd name="connsiteY1" fmla="*/ 0 h 665362"/>
              <a:gd name="connsiteX2" fmla="*/ 349216 w 577246"/>
              <a:gd name="connsiteY2" fmla="*/ 0 h 665362"/>
              <a:gd name="connsiteX3" fmla="*/ 577246 w 577246"/>
              <a:gd name="connsiteY3" fmla="*/ 228030 h 665362"/>
              <a:gd name="connsiteX4" fmla="*/ 577246 w 577246"/>
              <a:gd name="connsiteY4" fmla="*/ 576064 h 665362"/>
              <a:gd name="connsiteX5" fmla="*/ 1182 w 577246"/>
              <a:gd name="connsiteY5" fmla="*/ 648072 h 665362"/>
              <a:gd name="connsiteX0" fmla="*/ 1182 w 577246"/>
              <a:gd name="connsiteY0" fmla="*/ 648072 h 665362"/>
              <a:gd name="connsiteX1" fmla="*/ 1182 w 577246"/>
              <a:gd name="connsiteY1" fmla="*/ 0 h 665362"/>
              <a:gd name="connsiteX2" fmla="*/ 349216 w 577246"/>
              <a:gd name="connsiteY2" fmla="*/ 0 h 665362"/>
              <a:gd name="connsiteX3" fmla="*/ 577246 w 577246"/>
              <a:gd name="connsiteY3" fmla="*/ 228030 h 665362"/>
              <a:gd name="connsiteX4" fmla="*/ 577246 w 577246"/>
              <a:gd name="connsiteY4" fmla="*/ 576064 h 665362"/>
              <a:gd name="connsiteX5" fmla="*/ 1182 w 577246"/>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58006 w 634070"/>
              <a:gd name="connsiteY0" fmla="*/ 648072 h 665362"/>
              <a:gd name="connsiteX1" fmla="*/ 58006 w 634070"/>
              <a:gd name="connsiteY1" fmla="*/ 0 h 665362"/>
              <a:gd name="connsiteX2" fmla="*/ 406040 w 634070"/>
              <a:gd name="connsiteY2" fmla="*/ 0 h 665362"/>
              <a:gd name="connsiteX3" fmla="*/ 634070 w 634070"/>
              <a:gd name="connsiteY3" fmla="*/ 228030 h 665362"/>
              <a:gd name="connsiteX4" fmla="*/ 634070 w 634070"/>
              <a:gd name="connsiteY4" fmla="*/ 576064 h 665362"/>
              <a:gd name="connsiteX5" fmla="*/ 58006 w 634070"/>
              <a:gd name="connsiteY5" fmla="*/ 648072 h 665362"/>
              <a:gd name="connsiteX0" fmla="*/ 1182 w 1081302"/>
              <a:gd name="connsiteY0" fmla="*/ 576064 h 593354"/>
              <a:gd name="connsiteX1" fmla="*/ 505238 w 1081302"/>
              <a:gd name="connsiteY1" fmla="*/ 0 h 593354"/>
              <a:gd name="connsiteX2" fmla="*/ 853272 w 1081302"/>
              <a:gd name="connsiteY2" fmla="*/ 0 h 593354"/>
              <a:gd name="connsiteX3" fmla="*/ 1081302 w 1081302"/>
              <a:gd name="connsiteY3" fmla="*/ 228030 h 593354"/>
              <a:gd name="connsiteX4" fmla="*/ 1081302 w 1081302"/>
              <a:gd name="connsiteY4" fmla="*/ 576064 h 593354"/>
              <a:gd name="connsiteX5" fmla="*/ 1182 w 1081302"/>
              <a:gd name="connsiteY5" fmla="*/ 576064 h 593354"/>
              <a:gd name="connsiteX0" fmla="*/ 1182 w 649254"/>
              <a:gd name="connsiteY0" fmla="*/ 936104 h 953394"/>
              <a:gd name="connsiteX1" fmla="*/ 73190 w 649254"/>
              <a:gd name="connsiteY1" fmla="*/ 0 h 953394"/>
              <a:gd name="connsiteX2" fmla="*/ 421224 w 649254"/>
              <a:gd name="connsiteY2" fmla="*/ 0 h 953394"/>
              <a:gd name="connsiteX3" fmla="*/ 649254 w 649254"/>
              <a:gd name="connsiteY3" fmla="*/ 228030 h 953394"/>
              <a:gd name="connsiteX4" fmla="*/ 649254 w 649254"/>
              <a:gd name="connsiteY4" fmla="*/ 576064 h 953394"/>
              <a:gd name="connsiteX5" fmla="*/ 1182 w 649254"/>
              <a:gd name="connsiteY5" fmla="*/ 936104 h 953394"/>
              <a:gd name="connsiteX0" fmla="*/ 1182 w 865278"/>
              <a:gd name="connsiteY0" fmla="*/ 792088 h 809378"/>
              <a:gd name="connsiteX1" fmla="*/ 289214 w 865278"/>
              <a:gd name="connsiteY1" fmla="*/ 0 h 809378"/>
              <a:gd name="connsiteX2" fmla="*/ 637248 w 865278"/>
              <a:gd name="connsiteY2" fmla="*/ 0 h 809378"/>
              <a:gd name="connsiteX3" fmla="*/ 865278 w 865278"/>
              <a:gd name="connsiteY3" fmla="*/ 228030 h 809378"/>
              <a:gd name="connsiteX4" fmla="*/ 865278 w 865278"/>
              <a:gd name="connsiteY4" fmla="*/ 576064 h 809378"/>
              <a:gd name="connsiteX5" fmla="*/ 1182 w 865278"/>
              <a:gd name="connsiteY5" fmla="*/ 792088 h 809378"/>
              <a:gd name="connsiteX0" fmla="*/ 0 w 864096"/>
              <a:gd name="connsiteY0" fmla="*/ 792088 h 1227997"/>
              <a:gd name="connsiteX1" fmla="*/ 288032 w 864096"/>
              <a:gd name="connsiteY1" fmla="*/ 0 h 1227997"/>
              <a:gd name="connsiteX2" fmla="*/ 636066 w 864096"/>
              <a:gd name="connsiteY2" fmla="*/ 0 h 1227997"/>
              <a:gd name="connsiteX3" fmla="*/ 864096 w 864096"/>
              <a:gd name="connsiteY3" fmla="*/ 228030 h 1227997"/>
              <a:gd name="connsiteX4" fmla="*/ 864096 w 864096"/>
              <a:gd name="connsiteY4" fmla="*/ 576064 h 1227997"/>
              <a:gd name="connsiteX5" fmla="*/ 0 w 864096"/>
              <a:gd name="connsiteY5" fmla="*/ 792088 h 1227997"/>
              <a:gd name="connsiteX0" fmla="*/ 200165 w 1064261"/>
              <a:gd name="connsiteY0" fmla="*/ 792088 h 1227997"/>
              <a:gd name="connsiteX1" fmla="*/ 488197 w 1064261"/>
              <a:gd name="connsiteY1" fmla="*/ 0 h 1227997"/>
              <a:gd name="connsiteX2" fmla="*/ 836231 w 1064261"/>
              <a:gd name="connsiteY2" fmla="*/ 0 h 1227997"/>
              <a:gd name="connsiteX3" fmla="*/ 1064261 w 1064261"/>
              <a:gd name="connsiteY3" fmla="*/ 228030 h 1227997"/>
              <a:gd name="connsiteX4" fmla="*/ 1064261 w 1064261"/>
              <a:gd name="connsiteY4" fmla="*/ 576064 h 1227997"/>
              <a:gd name="connsiteX5" fmla="*/ 200165 w 1064261"/>
              <a:gd name="connsiteY5" fmla="*/ 792088 h 1227997"/>
              <a:gd name="connsiteX0" fmla="*/ 200165 w 1064261"/>
              <a:gd name="connsiteY0" fmla="*/ 792088 h 1227997"/>
              <a:gd name="connsiteX1" fmla="*/ 488197 w 1064261"/>
              <a:gd name="connsiteY1" fmla="*/ 0 h 1227997"/>
              <a:gd name="connsiteX2" fmla="*/ 836231 w 1064261"/>
              <a:gd name="connsiteY2" fmla="*/ 0 h 1227997"/>
              <a:gd name="connsiteX3" fmla="*/ 1064261 w 1064261"/>
              <a:gd name="connsiteY3" fmla="*/ 228030 h 1227997"/>
              <a:gd name="connsiteX4" fmla="*/ 1064261 w 1064261"/>
              <a:gd name="connsiteY4" fmla="*/ 576064 h 1227997"/>
              <a:gd name="connsiteX5" fmla="*/ 200165 w 1064261"/>
              <a:gd name="connsiteY5" fmla="*/ 792088 h 1227997"/>
              <a:gd name="connsiteX0" fmla="*/ 200165 w 1064261"/>
              <a:gd name="connsiteY0" fmla="*/ 792088 h 1265492"/>
              <a:gd name="connsiteX1" fmla="*/ 488197 w 1064261"/>
              <a:gd name="connsiteY1" fmla="*/ 0 h 1265492"/>
              <a:gd name="connsiteX2" fmla="*/ 836231 w 1064261"/>
              <a:gd name="connsiteY2" fmla="*/ 0 h 1265492"/>
              <a:gd name="connsiteX3" fmla="*/ 1064261 w 1064261"/>
              <a:gd name="connsiteY3" fmla="*/ 228030 h 1265492"/>
              <a:gd name="connsiteX4" fmla="*/ 1064261 w 1064261"/>
              <a:gd name="connsiteY4" fmla="*/ 576064 h 1265492"/>
              <a:gd name="connsiteX5" fmla="*/ 200165 w 1064261"/>
              <a:gd name="connsiteY5" fmla="*/ 792088 h 1265492"/>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1049467"/>
              <a:gd name="connsiteX1" fmla="*/ 200164 w 776228"/>
              <a:gd name="connsiteY1" fmla="*/ 0 h 1049467"/>
              <a:gd name="connsiteX2" fmla="*/ 548198 w 776228"/>
              <a:gd name="connsiteY2" fmla="*/ 0 h 1049467"/>
              <a:gd name="connsiteX3" fmla="*/ 776228 w 776228"/>
              <a:gd name="connsiteY3" fmla="*/ 228030 h 1049467"/>
              <a:gd name="connsiteX4" fmla="*/ 776228 w 776228"/>
              <a:gd name="connsiteY4" fmla="*/ 576064 h 1049467"/>
              <a:gd name="connsiteX5" fmla="*/ 200165 w 776228"/>
              <a:gd name="connsiteY5" fmla="*/ 576063 h 1049467"/>
              <a:gd name="connsiteX0" fmla="*/ 200165 w 776228"/>
              <a:gd name="connsiteY0" fmla="*/ 576063 h 576064"/>
              <a:gd name="connsiteX1" fmla="*/ 200164 w 776228"/>
              <a:gd name="connsiteY1" fmla="*/ 0 h 576064"/>
              <a:gd name="connsiteX2" fmla="*/ 548198 w 776228"/>
              <a:gd name="connsiteY2" fmla="*/ 0 h 576064"/>
              <a:gd name="connsiteX3" fmla="*/ 776228 w 776228"/>
              <a:gd name="connsiteY3" fmla="*/ 228030 h 576064"/>
              <a:gd name="connsiteX4" fmla="*/ 776228 w 776228"/>
              <a:gd name="connsiteY4" fmla="*/ 576064 h 576064"/>
              <a:gd name="connsiteX5" fmla="*/ 200165 w 776228"/>
              <a:gd name="connsiteY5" fmla="*/ 576063 h 576064"/>
              <a:gd name="connsiteX0" fmla="*/ 58007 w 634070"/>
              <a:gd name="connsiteY0" fmla="*/ 576063 h 586290"/>
              <a:gd name="connsiteX1" fmla="*/ 58006 w 634070"/>
              <a:gd name="connsiteY1" fmla="*/ 0 h 586290"/>
              <a:gd name="connsiteX2" fmla="*/ 406040 w 634070"/>
              <a:gd name="connsiteY2" fmla="*/ 0 h 586290"/>
              <a:gd name="connsiteX3" fmla="*/ 634070 w 634070"/>
              <a:gd name="connsiteY3" fmla="*/ 228030 h 586290"/>
              <a:gd name="connsiteX4" fmla="*/ 634070 w 634070"/>
              <a:gd name="connsiteY4" fmla="*/ 576064 h 586290"/>
              <a:gd name="connsiteX5" fmla="*/ 58007 w 634070"/>
              <a:gd name="connsiteY5" fmla="*/ 576063 h 586290"/>
              <a:gd name="connsiteX0" fmla="*/ 0 w 1008112"/>
              <a:gd name="connsiteY0" fmla="*/ 576064 h 586291"/>
              <a:gd name="connsiteX1" fmla="*/ 432048 w 1008112"/>
              <a:gd name="connsiteY1" fmla="*/ 0 h 586291"/>
              <a:gd name="connsiteX2" fmla="*/ 780082 w 1008112"/>
              <a:gd name="connsiteY2" fmla="*/ 0 h 586291"/>
              <a:gd name="connsiteX3" fmla="*/ 1008112 w 1008112"/>
              <a:gd name="connsiteY3" fmla="*/ 228030 h 586291"/>
              <a:gd name="connsiteX4" fmla="*/ 1008112 w 1008112"/>
              <a:gd name="connsiteY4" fmla="*/ 576064 h 586291"/>
              <a:gd name="connsiteX5" fmla="*/ 0 w 1008112"/>
              <a:gd name="connsiteY5" fmla="*/ 576064 h 586291"/>
              <a:gd name="connsiteX0" fmla="*/ 0 w 1440160"/>
              <a:gd name="connsiteY0" fmla="*/ 720080 h 730307"/>
              <a:gd name="connsiteX1" fmla="*/ 864096 w 1440160"/>
              <a:gd name="connsiteY1" fmla="*/ 0 h 730307"/>
              <a:gd name="connsiteX2" fmla="*/ 1212130 w 1440160"/>
              <a:gd name="connsiteY2" fmla="*/ 0 h 730307"/>
              <a:gd name="connsiteX3" fmla="*/ 1440160 w 1440160"/>
              <a:gd name="connsiteY3" fmla="*/ 228030 h 730307"/>
              <a:gd name="connsiteX4" fmla="*/ 1440160 w 1440160"/>
              <a:gd name="connsiteY4" fmla="*/ 576064 h 730307"/>
              <a:gd name="connsiteX5" fmla="*/ 0 w 1440160"/>
              <a:gd name="connsiteY5" fmla="*/ 720080 h 730307"/>
              <a:gd name="connsiteX0" fmla="*/ 0 w 1440160"/>
              <a:gd name="connsiteY0" fmla="*/ 720080 h 720080"/>
              <a:gd name="connsiteX1" fmla="*/ 864096 w 1440160"/>
              <a:gd name="connsiteY1" fmla="*/ 0 h 720080"/>
              <a:gd name="connsiteX2" fmla="*/ 1212130 w 1440160"/>
              <a:gd name="connsiteY2" fmla="*/ 0 h 720080"/>
              <a:gd name="connsiteX3" fmla="*/ 1440160 w 1440160"/>
              <a:gd name="connsiteY3" fmla="*/ 228030 h 720080"/>
              <a:gd name="connsiteX4" fmla="*/ 1440160 w 1440160"/>
              <a:gd name="connsiteY4" fmla="*/ 576064 h 720080"/>
              <a:gd name="connsiteX5" fmla="*/ 0 w 1440160"/>
              <a:gd name="connsiteY5" fmla="*/ 720080 h 720080"/>
              <a:gd name="connsiteX0" fmla="*/ 0 w 862092"/>
              <a:gd name="connsiteY0" fmla="*/ 715763 h 715763"/>
              <a:gd name="connsiteX1" fmla="*/ 72008 w 862092"/>
              <a:gd name="connsiteY1" fmla="*/ 139699 h 715763"/>
              <a:gd name="connsiteX2" fmla="*/ 420042 w 862092"/>
              <a:gd name="connsiteY2" fmla="*/ 139699 h 715763"/>
              <a:gd name="connsiteX3" fmla="*/ 648072 w 862092"/>
              <a:gd name="connsiteY3" fmla="*/ 367729 h 715763"/>
              <a:gd name="connsiteX4" fmla="*/ 648072 w 862092"/>
              <a:gd name="connsiteY4" fmla="*/ 715763 h 715763"/>
              <a:gd name="connsiteX5" fmla="*/ 0 w 862092"/>
              <a:gd name="connsiteY5" fmla="*/ 715763 h 715763"/>
              <a:gd name="connsiteX0" fmla="*/ 8670 w 656742"/>
              <a:gd name="connsiteY0" fmla="*/ 576064 h 576064"/>
              <a:gd name="connsiteX1" fmla="*/ 80678 w 656742"/>
              <a:gd name="connsiteY1" fmla="*/ 0 h 576064"/>
              <a:gd name="connsiteX2" fmla="*/ 428712 w 656742"/>
              <a:gd name="connsiteY2" fmla="*/ 0 h 576064"/>
              <a:gd name="connsiteX3" fmla="*/ 656742 w 656742"/>
              <a:gd name="connsiteY3" fmla="*/ 228030 h 576064"/>
              <a:gd name="connsiteX4" fmla="*/ 656742 w 656742"/>
              <a:gd name="connsiteY4" fmla="*/ 576064 h 576064"/>
              <a:gd name="connsiteX5" fmla="*/ 8670 w 656742"/>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58006 w 634070"/>
              <a:gd name="connsiteY0" fmla="*/ 576064 h 576064"/>
              <a:gd name="connsiteX1" fmla="*/ 58006 w 634070"/>
              <a:gd name="connsiteY1" fmla="*/ 0 h 576064"/>
              <a:gd name="connsiteX2" fmla="*/ 406040 w 634070"/>
              <a:gd name="connsiteY2" fmla="*/ 0 h 576064"/>
              <a:gd name="connsiteX3" fmla="*/ 634070 w 634070"/>
              <a:gd name="connsiteY3" fmla="*/ 228030 h 576064"/>
              <a:gd name="connsiteX4" fmla="*/ 634070 w 634070"/>
              <a:gd name="connsiteY4" fmla="*/ 576064 h 576064"/>
              <a:gd name="connsiteX5" fmla="*/ 58006 w 634070"/>
              <a:gd name="connsiteY5" fmla="*/ 576064 h 576064"/>
              <a:gd name="connsiteX0" fmla="*/ 8670 w 584734"/>
              <a:gd name="connsiteY0" fmla="*/ 576064 h 576064"/>
              <a:gd name="connsiteX1" fmla="*/ 8670 w 584734"/>
              <a:gd name="connsiteY1" fmla="*/ 0 h 576064"/>
              <a:gd name="connsiteX2" fmla="*/ 356704 w 584734"/>
              <a:gd name="connsiteY2" fmla="*/ 0 h 576064"/>
              <a:gd name="connsiteX3" fmla="*/ 584734 w 584734"/>
              <a:gd name="connsiteY3" fmla="*/ 228030 h 576064"/>
              <a:gd name="connsiteX4" fmla="*/ 584734 w 584734"/>
              <a:gd name="connsiteY4" fmla="*/ 576064 h 576064"/>
              <a:gd name="connsiteX5" fmla="*/ 8670 w 584734"/>
              <a:gd name="connsiteY5" fmla="*/ 576064 h 5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734" h="576064">
                <a:moveTo>
                  <a:pt x="8670" y="576064"/>
                </a:moveTo>
                <a:cubicBezTo>
                  <a:pt x="0" y="574110"/>
                  <a:pt x="13740" y="140848"/>
                  <a:pt x="8670" y="0"/>
                </a:cubicBezTo>
                <a:lnTo>
                  <a:pt x="356704" y="0"/>
                </a:lnTo>
                <a:cubicBezTo>
                  <a:pt x="356704" y="125937"/>
                  <a:pt x="458796" y="228030"/>
                  <a:pt x="584734" y="228030"/>
                </a:cubicBezTo>
                <a:lnTo>
                  <a:pt x="584734" y="576064"/>
                </a:lnTo>
                <a:lnTo>
                  <a:pt x="8670" y="57606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a-DK">
                <a:solidFill>
                  <a:srgbClr val="FFFFFF"/>
                </a:solidFill>
                <a:cs typeface="Arial" charset="0"/>
              </a:rPr>
              <a:t>ç</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6565">
                                            <p:txEl>
                                              <p:pRg st="0" end="0"/>
                                            </p:txEl>
                                          </p:spTgt>
                                        </p:tgtEl>
                                        <p:attrNameLst>
                                          <p:attrName>style.visibility</p:attrName>
                                        </p:attrNameLst>
                                      </p:cBhvr>
                                      <p:to>
                                        <p:strVal val="visible"/>
                                      </p:to>
                                    </p:set>
                                    <p:animEffect transition="in" filter="fade">
                                      <p:cBhvr>
                                        <p:cTn id="7" dur="500"/>
                                        <p:tgtEl>
                                          <p:spTgt spid="6656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6565">
                                            <p:txEl>
                                              <p:pRg st="1" end="1"/>
                                            </p:txEl>
                                          </p:spTgt>
                                        </p:tgtEl>
                                        <p:attrNameLst>
                                          <p:attrName>style.visibility</p:attrName>
                                        </p:attrNameLst>
                                      </p:cBhvr>
                                      <p:to>
                                        <p:strVal val="visible"/>
                                      </p:to>
                                    </p:set>
                                    <p:animEffect transition="in" filter="fade">
                                      <p:cBhvr>
                                        <p:cTn id="12" dur="500"/>
                                        <p:tgtEl>
                                          <p:spTgt spid="6656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6565">
                                            <p:txEl>
                                              <p:pRg st="2" end="2"/>
                                            </p:txEl>
                                          </p:spTgt>
                                        </p:tgtEl>
                                        <p:attrNameLst>
                                          <p:attrName>style.visibility</p:attrName>
                                        </p:attrNameLst>
                                      </p:cBhvr>
                                      <p:to>
                                        <p:strVal val="visible"/>
                                      </p:to>
                                    </p:set>
                                    <p:animEffect transition="in" filter="fade">
                                      <p:cBhvr>
                                        <p:cTn id="17" dur="500"/>
                                        <p:tgtEl>
                                          <p:spTgt spid="6656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6565">
                                            <p:txEl>
                                              <p:pRg st="3" end="3"/>
                                            </p:txEl>
                                          </p:spTgt>
                                        </p:tgtEl>
                                        <p:attrNameLst>
                                          <p:attrName>style.visibility</p:attrName>
                                        </p:attrNameLst>
                                      </p:cBhvr>
                                      <p:to>
                                        <p:strVal val="visible"/>
                                      </p:to>
                                    </p:set>
                                    <p:animEffect transition="in" filter="fade">
                                      <p:cBhvr>
                                        <p:cTn id="22" dur="500"/>
                                        <p:tgtEl>
                                          <p:spTgt spid="6656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6565">
                                            <p:txEl>
                                              <p:pRg st="4" end="4"/>
                                            </p:txEl>
                                          </p:spTgt>
                                        </p:tgtEl>
                                        <p:attrNameLst>
                                          <p:attrName>style.visibility</p:attrName>
                                        </p:attrNameLst>
                                      </p:cBhvr>
                                      <p:to>
                                        <p:strVal val="visible"/>
                                      </p:to>
                                    </p:set>
                                    <p:animEffect transition="in" filter="fade">
                                      <p:cBhvr>
                                        <p:cTn id="27" dur="500"/>
                                        <p:tgtEl>
                                          <p:spTgt spid="6656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6565">
                                            <p:txEl>
                                              <p:pRg st="5" end="5"/>
                                            </p:txEl>
                                          </p:spTgt>
                                        </p:tgtEl>
                                        <p:attrNameLst>
                                          <p:attrName>style.visibility</p:attrName>
                                        </p:attrNameLst>
                                      </p:cBhvr>
                                      <p:to>
                                        <p:strVal val="visible"/>
                                      </p:to>
                                    </p:set>
                                    <p:animEffect transition="in" filter="fade">
                                      <p:cBhvr>
                                        <p:cTn id="32" dur="500"/>
                                        <p:tgtEl>
                                          <p:spTgt spid="6656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6565">
                                            <p:txEl>
                                              <p:pRg st="6" end="6"/>
                                            </p:txEl>
                                          </p:spTgt>
                                        </p:tgtEl>
                                        <p:attrNameLst>
                                          <p:attrName>style.visibility</p:attrName>
                                        </p:attrNameLst>
                                      </p:cBhvr>
                                      <p:to>
                                        <p:strVal val="visible"/>
                                      </p:to>
                                    </p:set>
                                    <p:animEffect transition="in" filter="fade">
                                      <p:cBhvr>
                                        <p:cTn id="37" dur="500"/>
                                        <p:tgtEl>
                                          <p:spTgt spid="6656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565"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457200" y="274638"/>
            <a:ext cx="8458200" cy="993775"/>
          </a:xfrm>
        </p:spPr>
        <p:txBody>
          <a:bodyPr/>
          <a:lstStyle/>
          <a:p>
            <a:r>
              <a:rPr lang="es-CR" sz="2400" dirty="0" smtClean="0">
                <a:ea typeface="ＭＳ Ｐゴシック" pitchFamily="34" charset="-128"/>
              </a:rPr>
              <a:t>Se obtienen ganancias adicionales al incrementar la visibilidad y control a lo largo de la cadena</a:t>
            </a:r>
          </a:p>
        </p:txBody>
      </p:sp>
      <p:grpSp>
        <p:nvGrpSpPr>
          <p:cNvPr id="2" name="Group 45"/>
          <p:cNvGrpSpPr>
            <a:grpSpLocks/>
          </p:cNvGrpSpPr>
          <p:nvPr/>
        </p:nvGrpSpPr>
        <p:grpSpPr bwMode="auto">
          <a:xfrm>
            <a:off x="319088" y="1600200"/>
            <a:ext cx="8299450" cy="4668838"/>
            <a:chOff x="318953" y="1708150"/>
            <a:chExt cx="8298929" cy="4669363"/>
          </a:xfrm>
        </p:grpSpPr>
        <p:sp>
          <p:nvSpPr>
            <p:cNvPr id="9" name="TextBox 8"/>
            <p:cNvSpPr txBox="1"/>
            <p:nvPr/>
          </p:nvSpPr>
          <p:spPr>
            <a:xfrm>
              <a:off x="445945" y="1708150"/>
              <a:ext cx="1611211" cy="576328"/>
            </a:xfrm>
            <a:prstGeom prst="rect">
              <a:avLst/>
            </a:prstGeom>
            <a:gradFill flip="none" rotWithShape="1">
              <a:gsLst>
                <a:gs pos="0">
                  <a:schemeClr val="accent2">
                    <a:lumMod val="75000"/>
                  </a:schemeClr>
                </a:gs>
                <a:gs pos="100000">
                  <a:schemeClr val="accent2"/>
                </a:gs>
              </a:gsLst>
              <a:lin ang="16200000" scaled="0"/>
              <a:tileRect/>
            </a:gradFill>
          </p:spPr>
          <p:txBody>
            <a:bodyPr>
              <a:spAutoFit/>
            </a:bodyPr>
            <a:lstStyle/>
            <a:p>
              <a:pPr>
                <a:defRPr/>
              </a:pPr>
              <a:r>
                <a:rPr lang="en-US" sz="1050" dirty="0">
                  <a:solidFill>
                    <a:srgbClr val="FFFFFF"/>
                  </a:solidFill>
                  <a:ea typeface="Arial" charset="0"/>
                </a:rPr>
                <a:t>Indicative of areas where cost cost savings are typically realized</a:t>
              </a:r>
            </a:p>
          </p:txBody>
        </p:sp>
        <p:sp>
          <p:nvSpPr>
            <p:cNvPr id="8" name="Rectangle 7"/>
            <p:cNvSpPr>
              <a:spLocks noChangeArrowheads="1"/>
            </p:cNvSpPr>
            <p:nvPr/>
          </p:nvSpPr>
          <p:spPr bwMode="auto">
            <a:xfrm>
              <a:off x="463406" y="3949952"/>
              <a:ext cx="650834" cy="917678"/>
            </a:xfrm>
            <a:prstGeom prst="rect">
              <a:avLst/>
            </a:prstGeom>
            <a:gradFill rotWithShape="1">
              <a:gsLst>
                <a:gs pos="0">
                  <a:srgbClr val="266CA2"/>
                </a:gs>
                <a:gs pos="50999">
                  <a:srgbClr val="3C5BA3"/>
                </a:gs>
                <a:gs pos="100000">
                  <a:srgbClr val="2D447A"/>
                </a:gs>
              </a:gsLst>
              <a:lin ang="5400000"/>
            </a:gradFill>
            <a:ln w="9525">
              <a:solidFill>
                <a:srgbClr val="3C5BA3"/>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10" name="TextBox 9"/>
            <p:cNvSpPr txBox="1"/>
            <p:nvPr/>
          </p:nvSpPr>
          <p:spPr>
            <a:xfrm rot="2484218">
              <a:off x="318953" y="5042939"/>
              <a:ext cx="492443" cy="920198"/>
            </a:xfrm>
            <a:prstGeom prst="rect">
              <a:avLst/>
            </a:prstGeom>
            <a:noFill/>
          </p:spPr>
          <p:txBody>
            <a:bodyPr vert="vert270">
              <a:spAutoFit/>
            </a:bodyPr>
            <a:lstStyle/>
            <a:p>
              <a:pPr algn="r" fontAlgn="auto">
                <a:spcBef>
                  <a:spcPts val="0"/>
                </a:spcBef>
                <a:spcAft>
                  <a:spcPts val="0"/>
                </a:spcAft>
                <a:defRPr/>
              </a:pPr>
              <a:r>
                <a:rPr lang="en-US" sz="1000" dirty="0">
                  <a:latin typeface="+mn-lt"/>
                  <a:cs typeface="+mn-cs"/>
                </a:rPr>
                <a:t>Grower Exporter Cost</a:t>
              </a:r>
            </a:p>
          </p:txBody>
        </p:sp>
        <p:sp>
          <p:nvSpPr>
            <p:cNvPr id="11" name="TextBox 10"/>
            <p:cNvSpPr txBox="1"/>
            <p:nvPr/>
          </p:nvSpPr>
          <p:spPr>
            <a:xfrm rot="2484218">
              <a:off x="1043108" y="5031754"/>
              <a:ext cx="492443" cy="1345759"/>
            </a:xfrm>
            <a:prstGeom prst="rect">
              <a:avLst/>
            </a:prstGeom>
            <a:noFill/>
          </p:spPr>
          <p:txBody>
            <a:bodyPr vert="vert270">
              <a:spAutoFit/>
            </a:bodyPr>
            <a:lstStyle/>
            <a:p>
              <a:pPr algn="r" fontAlgn="auto">
                <a:spcBef>
                  <a:spcPts val="0"/>
                </a:spcBef>
                <a:spcAft>
                  <a:spcPts val="0"/>
                </a:spcAft>
                <a:defRPr/>
              </a:pPr>
              <a:r>
                <a:rPr lang="en-US" sz="1000" dirty="0">
                  <a:latin typeface="+mn-lt"/>
                  <a:cs typeface="+mn-cs"/>
                </a:rPr>
                <a:t>Local Transport (including damage)</a:t>
              </a:r>
            </a:p>
          </p:txBody>
        </p:sp>
        <p:sp>
          <p:nvSpPr>
            <p:cNvPr id="12" name="TextBox 11"/>
            <p:cNvSpPr txBox="1"/>
            <p:nvPr/>
          </p:nvSpPr>
          <p:spPr>
            <a:xfrm rot="2484218">
              <a:off x="2514203" y="5027318"/>
              <a:ext cx="492443" cy="1056031"/>
            </a:xfrm>
            <a:prstGeom prst="rect">
              <a:avLst/>
            </a:prstGeom>
            <a:noFill/>
          </p:spPr>
          <p:txBody>
            <a:bodyPr vert="vert270">
              <a:spAutoFit/>
            </a:bodyPr>
            <a:lstStyle/>
            <a:p>
              <a:pPr algn="r" fontAlgn="auto">
                <a:spcBef>
                  <a:spcPts val="0"/>
                </a:spcBef>
                <a:spcAft>
                  <a:spcPts val="0"/>
                </a:spcAft>
                <a:defRPr/>
              </a:pPr>
              <a:r>
                <a:rPr lang="en-US" sz="1000" dirty="0">
                  <a:latin typeface="+mn-lt"/>
                  <a:cs typeface="+mn-cs"/>
                </a:rPr>
                <a:t> FOB Margin (Net Exporter)</a:t>
              </a:r>
            </a:p>
          </p:txBody>
        </p:sp>
        <p:sp>
          <p:nvSpPr>
            <p:cNvPr id="13" name="Rectangle 12"/>
            <p:cNvSpPr>
              <a:spLocks noChangeArrowheads="1"/>
            </p:cNvSpPr>
            <p:nvPr/>
          </p:nvSpPr>
          <p:spPr bwMode="auto">
            <a:xfrm>
              <a:off x="7965460" y="1730377"/>
              <a:ext cx="652422" cy="3137253"/>
            </a:xfrm>
            <a:prstGeom prst="rect">
              <a:avLst/>
            </a:prstGeom>
            <a:gradFill rotWithShape="1">
              <a:gsLst>
                <a:gs pos="0">
                  <a:srgbClr val="266CA2"/>
                </a:gs>
                <a:gs pos="50999">
                  <a:srgbClr val="3C5BA3"/>
                </a:gs>
                <a:gs pos="100000">
                  <a:srgbClr val="2D447A"/>
                </a:gs>
              </a:gsLst>
              <a:lin ang="5400000"/>
            </a:gradFill>
            <a:ln w="9525">
              <a:solidFill>
                <a:srgbClr val="3C5BA3"/>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14" name="Rectangle 13"/>
            <p:cNvSpPr>
              <a:spLocks noChangeArrowheads="1"/>
            </p:cNvSpPr>
            <p:nvPr/>
          </p:nvSpPr>
          <p:spPr bwMode="auto">
            <a:xfrm>
              <a:off x="7163823" y="1747842"/>
              <a:ext cx="652421" cy="180995"/>
            </a:xfrm>
            <a:prstGeom prst="rect">
              <a:avLst/>
            </a:prstGeom>
            <a:gradFill rotWithShape="1">
              <a:gsLst>
                <a:gs pos="0">
                  <a:srgbClr val="266CA2"/>
                </a:gs>
                <a:gs pos="50999">
                  <a:srgbClr val="3C5BA3"/>
                </a:gs>
                <a:gs pos="100000">
                  <a:srgbClr val="2D447A"/>
                </a:gs>
              </a:gsLst>
              <a:lin ang="5400000"/>
            </a:gradFill>
            <a:ln w="9525">
              <a:solidFill>
                <a:srgbClr val="3C5BA3"/>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15" name="Rectangle 14"/>
            <p:cNvSpPr>
              <a:spLocks noChangeArrowheads="1"/>
            </p:cNvSpPr>
            <p:nvPr/>
          </p:nvSpPr>
          <p:spPr bwMode="auto">
            <a:xfrm>
              <a:off x="6393934" y="1928838"/>
              <a:ext cx="652422" cy="238152"/>
            </a:xfrm>
            <a:prstGeom prst="rect">
              <a:avLst/>
            </a:prstGeom>
            <a:gradFill rotWithShape="1">
              <a:gsLst>
                <a:gs pos="0">
                  <a:srgbClr val="266CA2"/>
                </a:gs>
                <a:gs pos="50999">
                  <a:srgbClr val="3C5BA3"/>
                </a:gs>
                <a:gs pos="100000">
                  <a:srgbClr val="2D447A"/>
                </a:gs>
              </a:gsLst>
              <a:lin ang="5400000"/>
            </a:gradFill>
            <a:ln w="9525">
              <a:solidFill>
                <a:srgbClr val="3C5BA3"/>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16" name="Rectangle 15"/>
            <p:cNvSpPr>
              <a:spLocks noChangeArrowheads="1"/>
            </p:cNvSpPr>
            <p:nvPr/>
          </p:nvSpPr>
          <p:spPr bwMode="auto">
            <a:xfrm>
              <a:off x="5652618" y="2166990"/>
              <a:ext cx="652421" cy="238152"/>
            </a:xfrm>
            <a:prstGeom prst="rect">
              <a:avLst/>
            </a:prstGeom>
            <a:gradFill rotWithShape="1">
              <a:gsLst>
                <a:gs pos="0">
                  <a:srgbClr val="97D43A"/>
                </a:gs>
                <a:gs pos="20000">
                  <a:srgbClr val="96D03C"/>
                </a:gs>
                <a:gs pos="100000">
                  <a:srgbClr val="719F2C"/>
                </a:gs>
              </a:gsLst>
              <a:lin ang="5400000"/>
            </a:gradFill>
            <a:ln w="9525">
              <a:solidFill>
                <a:srgbClr val="94C34B"/>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17" name="Rectangle 16"/>
            <p:cNvSpPr>
              <a:spLocks noChangeArrowheads="1"/>
            </p:cNvSpPr>
            <p:nvPr/>
          </p:nvSpPr>
          <p:spPr bwMode="auto">
            <a:xfrm>
              <a:off x="4909715" y="2405141"/>
              <a:ext cx="650834" cy="258791"/>
            </a:xfrm>
            <a:prstGeom prst="rect">
              <a:avLst/>
            </a:prstGeom>
            <a:gradFill rotWithShape="1">
              <a:gsLst>
                <a:gs pos="0">
                  <a:srgbClr val="266CA2"/>
                </a:gs>
                <a:gs pos="50999">
                  <a:srgbClr val="3C5BA3"/>
                </a:gs>
                <a:gs pos="100000">
                  <a:srgbClr val="2D447A"/>
                </a:gs>
              </a:gsLst>
              <a:lin ang="5400000"/>
            </a:gradFill>
            <a:ln w="9525">
              <a:solidFill>
                <a:srgbClr val="3C5BA3"/>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18" name="Rectangle 17"/>
            <p:cNvSpPr>
              <a:spLocks noChangeArrowheads="1"/>
            </p:cNvSpPr>
            <p:nvPr/>
          </p:nvSpPr>
          <p:spPr bwMode="auto">
            <a:xfrm flipV="1">
              <a:off x="4169986" y="2673459"/>
              <a:ext cx="652421" cy="236565"/>
            </a:xfrm>
            <a:prstGeom prst="rect">
              <a:avLst/>
            </a:prstGeom>
            <a:gradFill rotWithShape="1">
              <a:gsLst>
                <a:gs pos="0">
                  <a:srgbClr val="266CA2"/>
                </a:gs>
                <a:gs pos="50999">
                  <a:srgbClr val="3C5BA3"/>
                </a:gs>
                <a:gs pos="100000">
                  <a:srgbClr val="2D447A"/>
                </a:gs>
              </a:gsLst>
              <a:lin ang="5400000"/>
            </a:gradFill>
            <a:ln w="9525">
              <a:solidFill>
                <a:srgbClr val="3C5BA3"/>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19" name="Rectangle 18"/>
            <p:cNvSpPr>
              <a:spLocks noChangeArrowheads="1"/>
            </p:cNvSpPr>
            <p:nvPr/>
          </p:nvSpPr>
          <p:spPr bwMode="auto">
            <a:xfrm>
              <a:off x="3428670" y="2910023"/>
              <a:ext cx="652422" cy="311185"/>
            </a:xfrm>
            <a:prstGeom prst="rect">
              <a:avLst/>
            </a:prstGeom>
            <a:gradFill rotWithShape="1">
              <a:gsLst>
                <a:gs pos="0">
                  <a:srgbClr val="266CA2"/>
                </a:gs>
                <a:gs pos="50999">
                  <a:srgbClr val="3C5BA3"/>
                </a:gs>
                <a:gs pos="100000">
                  <a:srgbClr val="2D447A"/>
                </a:gs>
              </a:gsLst>
              <a:lin ang="5400000"/>
            </a:gradFill>
            <a:ln w="9525">
              <a:solidFill>
                <a:srgbClr val="3C5BA3"/>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20" name="Rectangle 19"/>
            <p:cNvSpPr>
              <a:spLocks noChangeArrowheads="1"/>
            </p:cNvSpPr>
            <p:nvPr/>
          </p:nvSpPr>
          <p:spPr bwMode="auto">
            <a:xfrm>
              <a:off x="1922227" y="3468886"/>
              <a:ext cx="650834" cy="169881"/>
            </a:xfrm>
            <a:prstGeom prst="rect">
              <a:avLst/>
            </a:prstGeom>
            <a:gradFill rotWithShape="1">
              <a:gsLst>
                <a:gs pos="0">
                  <a:srgbClr val="266CA2"/>
                </a:gs>
                <a:gs pos="50999">
                  <a:srgbClr val="3C5BA3"/>
                </a:gs>
                <a:gs pos="100000">
                  <a:srgbClr val="2D447A"/>
                </a:gs>
              </a:gsLst>
              <a:lin ang="5400000"/>
            </a:gradFill>
            <a:ln w="9525">
              <a:solidFill>
                <a:srgbClr val="3C5BA3"/>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21" name="Rectangle 20"/>
            <p:cNvSpPr>
              <a:spLocks noChangeArrowheads="1"/>
            </p:cNvSpPr>
            <p:nvPr/>
          </p:nvSpPr>
          <p:spPr bwMode="auto">
            <a:xfrm>
              <a:off x="2685766" y="3221208"/>
              <a:ext cx="654009" cy="247678"/>
            </a:xfrm>
            <a:prstGeom prst="rect">
              <a:avLst/>
            </a:prstGeom>
            <a:gradFill rotWithShape="1">
              <a:gsLst>
                <a:gs pos="0">
                  <a:srgbClr val="97D43A"/>
                </a:gs>
                <a:gs pos="20000">
                  <a:srgbClr val="96D03C"/>
                </a:gs>
                <a:gs pos="100000">
                  <a:srgbClr val="719F2C"/>
                </a:gs>
              </a:gsLst>
              <a:lin ang="5400000"/>
            </a:gradFill>
            <a:ln w="9525">
              <a:solidFill>
                <a:srgbClr val="94C34B"/>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22" name="Rectangle 21"/>
            <p:cNvSpPr>
              <a:spLocks noChangeArrowheads="1"/>
            </p:cNvSpPr>
            <p:nvPr/>
          </p:nvSpPr>
          <p:spPr bwMode="auto">
            <a:xfrm>
              <a:off x="1192023" y="3638767"/>
              <a:ext cx="650834" cy="315949"/>
            </a:xfrm>
            <a:prstGeom prst="rect">
              <a:avLst/>
            </a:prstGeom>
            <a:gradFill rotWithShape="1">
              <a:gsLst>
                <a:gs pos="0">
                  <a:srgbClr val="266CA2"/>
                </a:gs>
                <a:gs pos="50999">
                  <a:srgbClr val="3C5BA3"/>
                </a:gs>
                <a:gs pos="100000">
                  <a:srgbClr val="2D447A"/>
                </a:gs>
              </a:gsLst>
              <a:lin ang="5400000"/>
            </a:gradFill>
            <a:ln w="9525">
              <a:solidFill>
                <a:srgbClr val="3C5BA3"/>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23" name="TextBox 22"/>
            <p:cNvSpPr txBox="1"/>
            <p:nvPr/>
          </p:nvSpPr>
          <p:spPr>
            <a:xfrm rot="2484218">
              <a:off x="1814120" y="5042939"/>
              <a:ext cx="492443" cy="1084041"/>
            </a:xfrm>
            <a:prstGeom prst="rect">
              <a:avLst/>
            </a:prstGeom>
            <a:noFill/>
          </p:spPr>
          <p:txBody>
            <a:bodyPr vert="vert270">
              <a:spAutoFit/>
            </a:bodyPr>
            <a:lstStyle/>
            <a:p>
              <a:pPr algn="r" fontAlgn="auto">
                <a:spcBef>
                  <a:spcPts val="0"/>
                </a:spcBef>
                <a:spcAft>
                  <a:spcPts val="0"/>
                </a:spcAft>
                <a:defRPr/>
              </a:pPr>
              <a:r>
                <a:rPr lang="en-US" sz="1000" dirty="0">
                  <a:latin typeface="+mn-lt"/>
                  <a:cs typeface="+mn-cs"/>
                </a:rPr>
                <a:t>Certification &amp; Documentation</a:t>
              </a:r>
            </a:p>
          </p:txBody>
        </p:sp>
        <p:sp>
          <p:nvSpPr>
            <p:cNvPr id="24" name="TextBox 23"/>
            <p:cNvSpPr txBox="1"/>
            <p:nvPr/>
          </p:nvSpPr>
          <p:spPr>
            <a:xfrm rot="2484218">
              <a:off x="3293883" y="5042939"/>
              <a:ext cx="492443" cy="800950"/>
            </a:xfrm>
            <a:prstGeom prst="rect">
              <a:avLst/>
            </a:prstGeom>
            <a:noFill/>
          </p:spPr>
          <p:txBody>
            <a:bodyPr vert="vert270">
              <a:spAutoFit/>
            </a:bodyPr>
            <a:lstStyle/>
            <a:p>
              <a:pPr algn="r" fontAlgn="auto">
                <a:spcBef>
                  <a:spcPts val="0"/>
                </a:spcBef>
                <a:spcAft>
                  <a:spcPts val="0"/>
                </a:spcAft>
                <a:defRPr/>
              </a:pPr>
              <a:r>
                <a:rPr lang="en-US" sz="1000" dirty="0">
                  <a:latin typeface="+mn-lt"/>
                  <a:cs typeface="+mn-cs"/>
                </a:rPr>
                <a:t>Ocean and air Freight</a:t>
              </a:r>
            </a:p>
          </p:txBody>
        </p:sp>
        <p:sp>
          <p:nvSpPr>
            <p:cNvPr id="25" name="TextBox 24"/>
            <p:cNvSpPr txBox="1"/>
            <p:nvPr/>
          </p:nvSpPr>
          <p:spPr>
            <a:xfrm rot="2484218">
              <a:off x="4013695" y="5021257"/>
              <a:ext cx="492443" cy="1274630"/>
            </a:xfrm>
            <a:prstGeom prst="rect">
              <a:avLst/>
            </a:prstGeom>
            <a:noFill/>
          </p:spPr>
          <p:txBody>
            <a:bodyPr vert="vert270">
              <a:spAutoFit/>
            </a:bodyPr>
            <a:lstStyle/>
            <a:p>
              <a:pPr algn="r" fontAlgn="auto">
                <a:spcBef>
                  <a:spcPts val="0"/>
                </a:spcBef>
                <a:spcAft>
                  <a:spcPts val="0"/>
                </a:spcAft>
                <a:defRPr/>
              </a:pPr>
              <a:r>
                <a:rPr lang="en-US" sz="1000" dirty="0">
                  <a:latin typeface="+mn-lt"/>
                  <a:cs typeface="+mn-cs"/>
                </a:rPr>
                <a:t>Insurance &amp;  Monitoring </a:t>
              </a:r>
            </a:p>
          </p:txBody>
        </p:sp>
        <p:sp>
          <p:nvSpPr>
            <p:cNvPr id="26" name="TextBox 25"/>
            <p:cNvSpPr txBox="1"/>
            <p:nvPr/>
          </p:nvSpPr>
          <p:spPr>
            <a:xfrm rot="2484218">
              <a:off x="7901160" y="5042939"/>
              <a:ext cx="492443" cy="746746"/>
            </a:xfrm>
            <a:prstGeom prst="rect">
              <a:avLst/>
            </a:prstGeom>
            <a:noFill/>
          </p:spPr>
          <p:txBody>
            <a:bodyPr vert="vert270">
              <a:spAutoFit/>
            </a:bodyPr>
            <a:lstStyle/>
            <a:p>
              <a:pPr algn="r" fontAlgn="auto">
                <a:spcBef>
                  <a:spcPts val="0"/>
                </a:spcBef>
                <a:spcAft>
                  <a:spcPts val="0"/>
                </a:spcAft>
                <a:defRPr/>
              </a:pPr>
              <a:r>
                <a:rPr lang="en-US" sz="1000" dirty="0">
                  <a:latin typeface="+mn-lt"/>
                  <a:cs typeface="+mn-cs"/>
                </a:rPr>
                <a:t>Retailer Cost</a:t>
              </a:r>
            </a:p>
          </p:txBody>
        </p:sp>
        <p:sp>
          <p:nvSpPr>
            <p:cNvPr id="27" name="TextBox 26"/>
            <p:cNvSpPr txBox="1"/>
            <p:nvPr/>
          </p:nvSpPr>
          <p:spPr>
            <a:xfrm rot="2484218">
              <a:off x="5485450" y="5042939"/>
              <a:ext cx="492443" cy="1084041"/>
            </a:xfrm>
            <a:prstGeom prst="rect">
              <a:avLst/>
            </a:prstGeom>
            <a:noFill/>
          </p:spPr>
          <p:txBody>
            <a:bodyPr vert="vert270">
              <a:spAutoFit/>
            </a:bodyPr>
            <a:lstStyle/>
            <a:p>
              <a:pPr algn="r" fontAlgn="auto">
                <a:spcBef>
                  <a:spcPts val="0"/>
                </a:spcBef>
                <a:spcAft>
                  <a:spcPts val="0"/>
                </a:spcAft>
                <a:defRPr/>
              </a:pPr>
              <a:r>
                <a:rPr lang="en-US" sz="1000" dirty="0">
                  <a:latin typeface="+mn-lt"/>
                  <a:cs typeface="+mn-cs"/>
                </a:rPr>
                <a:t>CIF Margin (Importer)</a:t>
              </a:r>
            </a:p>
          </p:txBody>
        </p:sp>
        <p:sp>
          <p:nvSpPr>
            <p:cNvPr id="28" name="TextBox 27"/>
            <p:cNvSpPr txBox="1"/>
            <p:nvPr/>
          </p:nvSpPr>
          <p:spPr>
            <a:xfrm rot="2484218">
              <a:off x="7079305" y="5042939"/>
              <a:ext cx="492443" cy="855154"/>
            </a:xfrm>
            <a:prstGeom prst="rect">
              <a:avLst/>
            </a:prstGeom>
            <a:noFill/>
          </p:spPr>
          <p:txBody>
            <a:bodyPr vert="vert270">
              <a:spAutoFit/>
            </a:bodyPr>
            <a:lstStyle/>
            <a:p>
              <a:pPr algn="r" fontAlgn="auto">
                <a:spcBef>
                  <a:spcPts val="0"/>
                </a:spcBef>
                <a:spcAft>
                  <a:spcPts val="0"/>
                </a:spcAft>
                <a:defRPr/>
              </a:pPr>
              <a:r>
                <a:rPr lang="en-US" sz="1000" dirty="0">
                  <a:latin typeface="+mn-lt"/>
                  <a:cs typeface="+mn-cs"/>
                </a:rPr>
                <a:t>Local Transport</a:t>
              </a:r>
            </a:p>
          </p:txBody>
        </p:sp>
        <p:sp>
          <p:nvSpPr>
            <p:cNvPr id="29" name="TextBox 28"/>
            <p:cNvSpPr txBox="1"/>
            <p:nvPr/>
          </p:nvSpPr>
          <p:spPr>
            <a:xfrm rot="2484218">
              <a:off x="6374896" y="5042939"/>
              <a:ext cx="492443" cy="1082809"/>
            </a:xfrm>
            <a:prstGeom prst="rect">
              <a:avLst/>
            </a:prstGeom>
            <a:noFill/>
          </p:spPr>
          <p:txBody>
            <a:bodyPr vert="vert270">
              <a:spAutoFit/>
            </a:bodyPr>
            <a:lstStyle/>
            <a:p>
              <a:pPr algn="r" fontAlgn="auto">
                <a:spcBef>
                  <a:spcPts val="0"/>
                </a:spcBef>
                <a:spcAft>
                  <a:spcPts val="0"/>
                </a:spcAft>
                <a:defRPr/>
              </a:pPr>
              <a:r>
                <a:rPr lang="en-US" sz="1000" dirty="0">
                  <a:latin typeface="+mn-lt"/>
                  <a:cs typeface="+mn-cs"/>
                </a:rPr>
                <a:t>Packing &amp; Labeling</a:t>
              </a:r>
            </a:p>
          </p:txBody>
        </p:sp>
        <p:sp>
          <p:nvSpPr>
            <p:cNvPr id="30" name="TextBox 29"/>
            <p:cNvSpPr txBox="1"/>
            <p:nvPr/>
          </p:nvSpPr>
          <p:spPr>
            <a:xfrm rot="2484218">
              <a:off x="4753303" y="5021258"/>
              <a:ext cx="492443" cy="1274629"/>
            </a:xfrm>
            <a:prstGeom prst="rect">
              <a:avLst/>
            </a:prstGeom>
            <a:noFill/>
          </p:spPr>
          <p:txBody>
            <a:bodyPr vert="vert270">
              <a:spAutoFit/>
            </a:bodyPr>
            <a:lstStyle/>
            <a:p>
              <a:pPr algn="r" fontAlgn="auto">
                <a:spcBef>
                  <a:spcPts val="0"/>
                </a:spcBef>
                <a:spcAft>
                  <a:spcPts val="0"/>
                </a:spcAft>
                <a:defRPr/>
              </a:pPr>
              <a:r>
                <a:rPr lang="en-US" sz="1000" dirty="0">
                  <a:ea typeface="Arial" charset="0"/>
                </a:rPr>
                <a:t>Certification &amp; Documentation</a:t>
              </a:r>
            </a:p>
          </p:txBody>
        </p:sp>
        <p:cxnSp>
          <p:nvCxnSpPr>
            <p:cNvPr id="31" name="Straight Connector 30"/>
            <p:cNvCxnSpPr>
              <a:cxnSpLocks noChangeShapeType="1"/>
            </p:cNvCxnSpPr>
            <p:nvPr/>
          </p:nvCxnSpPr>
          <p:spPr bwMode="auto">
            <a:xfrm>
              <a:off x="463406" y="4967654"/>
              <a:ext cx="8154476" cy="1587"/>
            </a:xfrm>
            <a:prstGeom prst="line">
              <a:avLst/>
            </a:prstGeom>
            <a:noFill/>
            <a:ln w="25400">
              <a:solidFill>
                <a:schemeClr val="accent2"/>
              </a:solidFill>
              <a:round/>
              <a:headEnd/>
              <a:tailEnd/>
            </a:ln>
            <a:effectLst>
              <a:outerShdw dist="20000" dir="5400000" rotWithShape="0">
                <a:srgbClr val="808080">
                  <a:alpha val="37999"/>
                </a:srgbClr>
              </a:outerShdw>
            </a:effectLst>
          </p:spPr>
        </p:cxnSp>
        <p:sp>
          <p:nvSpPr>
            <p:cNvPr id="32" name="Rectangle 31"/>
            <p:cNvSpPr>
              <a:spLocks noChangeArrowheads="1"/>
            </p:cNvSpPr>
            <p:nvPr/>
          </p:nvSpPr>
          <p:spPr bwMode="auto">
            <a:xfrm>
              <a:off x="1180911" y="3638767"/>
              <a:ext cx="650834" cy="98436"/>
            </a:xfrm>
            <a:prstGeom prst="rect">
              <a:avLst/>
            </a:prstGeom>
            <a:gradFill rotWithShape="1">
              <a:gsLst>
                <a:gs pos="0">
                  <a:schemeClr val="accent2"/>
                </a:gs>
                <a:gs pos="100000">
                  <a:srgbClr val="3F8031"/>
                </a:gs>
              </a:gsLst>
              <a:lin ang="5400000"/>
            </a:gradFill>
            <a:ln w="9525">
              <a:solidFill>
                <a:schemeClr val="accent2"/>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33" name="Rectangle 32"/>
            <p:cNvSpPr>
              <a:spLocks noChangeArrowheads="1"/>
            </p:cNvSpPr>
            <p:nvPr/>
          </p:nvSpPr>
          <p:spPr bwMode="auto">
            <a:xfrm>
              <a:off x="2687354" y="3221208"/>
              <a:ext cx="652421" cy="247678"/>
            </a:xfrm>
            <a:prstGeom prst="rect">
              <a:avLst/>
            </a:prstGeom>
            <a:gradFill rotWithShape="1">
              <a:gsLst>
                <a:gs pos="0">
                  <a:schemeClr val="accent2"/>
                </a:gs>
                <a:gs pos="100000">
                  <a:srgbClr val="3F8031"/>
                </a:gs>
              </a:gsLst>
              <a:lin ang="5400000"/>
            </a:gradFill>
            <a:ln w="9525">
              <a:solidFill>
                <a:schemeClr val="accent2"/>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34" name="Rectangle 33"/>
            <p:cNvSpPr>
              <a:spLocks noChangeArrowheads="1"/>
            </p:cNvSpPr>
            <p:nvPr/>
          </p:nvSpPr>
          <p:spPr bwMode="auto">
            <a:xfrm>
              <a:off x="3428670" y="2910023"/>
              <a:ext cx="650834" cy="98436"/>
            </a:xfrm>
            <a:prstGeom prst="rect">
              <a:avLst/>
            </a:prstGeom>
            <a:gradFill rotWithShape="1">
              <a:gsLst>
                <a:gs pos="0">
                  <a:schemeClr val="accent2"/>
                </a:gs>
                <a:gs pos="100000">
                  <a:srgbClr val="3F8031"/>
                </a:gs>
              </a:gsLst>
              <a:lin ang="5400000"/>
            </a:gradFill>
            <a:ln w="9525">
              <a:solidFill>
                <a:schemeClr val="accent2"/>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35" name="Rectangle 34"/>
            <p:cNvSpPr>
              <a:spLocks noChangeArrowheads="1"/>
            </p:cNvSpPr>
            <p:nvPr/>
          </p:nvSpPr>
          <p:spPr bwMode="auto">
            <a:xfrm>
              <a:off x="4171573" y="2673459"/>
              <a:ext cx="650834" cy="96849"/>
            </a:xfrm>
            <a:prstGeom prst="rect">
              <a:avLst/>
            </a:prstGeom>
            <a:gradFill rotWithShape="1">
              <a:gsLst>
                <a:gs pos="0">
                  <a:schemeClr val="accent2"/>
                </a:gs>
                <a:gs pos="100000">
                  <a:srgbClr val="3F8031"/>
                </a:gs>
              </a:gsLst>
              <a:lin ang="5400000"/>
            </a:gradFill>
            <a:ln w="9525">
              <a:solidFill>
                <a:schemeClr val="accent2"/>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36" name="Rectangle 35"/>
            <p:cNvSpPr>
              <a:spLocks noChangeArrowheads="1"/>
            </p:cNvSpPr>
            <p:nvPr/>
          </p:nvSpPr>
          <p:spPr bwMode="auto">
            <a:xfrm>
              <a:off x="5654205" y="2157464"/>
              <a:ext cx="650834" cy="247678"/>
            </a:xfrm>
            <a:prstGeom prst="rect">
              <a:avLst/>
            </a:prstGeom>
            <a:gradFill rotWithShape="1">
              <a:gsLst>
                <a:gs pos="0">
                  <a:schemeClr val="accent2"/>
                </a:gs>
                <a:gs pos="100000">
                  <a:srgbClr val="3F8031"/>
                </a:gs>
              </a:gsLst>
              <a:lin ang="5400000"/>
            </a:gradFill>
            <a:ln w="9525">
              <a:solidFill>
                <a:schemeClr val="accent2"/>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37" name="Rectangle 36"/>
            <p:cNvSpPr>
              <a:spLocks noChangeArrowheads="1"/>
            </p:cNvSpPr>
            <p:nvPr/>
          </p:nvSpPr>
          <p:spPr bwMode="auto">
            <a:xfrm>
              <a:off x="4909715" y="2405141"/>
              <a:ext cx="650834" cy="98436"/>
            </a:xfrm>
            <a:prstGeom prst="rect">
              <a:avLst/>
            </a:prstGeom>
            <a:gradFill rotWithShape="1">
              <a:gsLst>
                <a:gs pos="0">
                  <a:schemeClr val="accent2"/>
                </a:gs>
                <a:gs pos="100000">
                  <a:srgbClr val="3F8031"/>
                </a:gs>
              </a:gsLst>
              <a:lin ang="5400000"/>
            </a:gradFill>
            <a:ln w="9525">
              <a:solidFill>
                <a:schemeClr val="accent2"/>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sp>
          <p:nvSpPr>
            <p:cNvPr id="38" name="Rectangle 37"/>
            <p:cNvSpPr>
              <a:spLocks noChangeArrowheads="1"/>
            </p:cNvSpPr>
            <p:nvPr/>
          </p:nvSpPr>
          <p:spPr bwMode="auto">
            <a:xfrm flipV="1">
              <a:off x="6395522" y="1928838"/>
              <a:ext cx="650834" cy="38104"/>
            </a:xfrm>
            <a:prstGeom prst="rect">
              <a:avLst/>
            </a:prstGeom>
            <a:gradFill rotWithShape="1">
              <a:gsLst>
                <a:gs pos="0">
                  <a:schemeClr val="accent2"/>
                </a:gs>
                <a:gs pos="100000">
                  <a:srgbClr val="3F8031"/>
                </a:gs>
              </a:gsLst>
              <a:lin ang="5400000"/>
            </a:gradFill>
            <a:ln w="9525">
              <a:solidFill>
                <a:schemeClr val="accent2"/>
              </a:solidFill>
              <a:miter lim="800000"/>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a:solidFill>
                  <a:schemeClr val="lt1"/>
                </a:solidFill>
                <a:latin typeface="+mn-lt"/>
                <a:cs typeface="+mn-cs"/>
              </a:endParaRPr>
            </a:p>
          </p:txBody>
        </p:sp>
      </p:grpSp>
      <p:sp>
        <p:nvSpPr>
          <p:cNvPr id="21539" name="AutoShape 35"/>
          <p:cNvSpPr>
            <a:spLocks noChangeArrowheads="1"/>
          </p:cNvSpPr>
          <p:nvPr/>
        </p:nvSpPr>
        <p:spPr bwMode="auto">
          <a:xfrm>
            <a:off x="4868863" y="2852738"/>
            <a:ext cx="2439987" cy="1417637"/>
          </a:xfrm>
          <a:prstGeom prst="irregularSeal2">
            <a:avLst/>
          </a:prstGeom>
          <a:gradFill rotWithShape="1">
            <a:gsLst>
              <a:gs pos="0">
                <a:srgbClr val="69A132"/>
              </a:gs>
              <a:gs pos="80000">
                <a:srgbClr val="8BD345"/>
              </a:gs>
              <a:gs pos="100000">
                <a:srgbClr val="8CD742"/>
              </a:gs>
            </a:gsLst>
            <a:lin ang="16200000"/>
          </a:gradFill>
          <a:ln w="9525" algn="ctr">
            <a:solidFill>
              <a:srgbClr val="8DC753"/>
            </a:solidFill>
            <a:miter lim="800000"/>
            <a:headEnd/>
            <a:tailEnd/>
          </a:ln>
          <a:effectLst>
            <a:outerShdw dist="23000" dir="5400000" rotWithShape="0">
              <a:srgbClr val="000000">
                <a:alpha val="34999"/>
              </a:srgbClr>
            </a:outerShdw>
          </a:effectLst>
        </p:spPr>
        <p:txBody>
          <a:bodyPr wrap="none" anchor="ctr"/>
          <a:lstStyle/>
          <a:p>
            <a:pPr algn="ctr"/>
            <a:r>
              <a:rPr lang="en-US" sz="1000">
                <a:solidFill>
                  <a:srgbClr val="FFFFFF"/>
                </a:solidFill>
                <a:latin typeface="Verdana" pitchFamily="34" charset="0"/>
              </a:rPr>
              <a:t>Improved quality</a:t>
            </a:r>
          </a:p>
          <a:p>
            <a:pPr algn="ctr"/>
            <a:r>
              <a:rPr lang="en-US" sz="1000">
                <a:solidFill>
                  <a:srgbClr val="FFFFFF"/>
                </a:solidFill>
                <a:latin typeface="Verdana" pitchFamily="34" charset="0"/>
              </a:rPr>
              <a:t>equal to 5-8%</a:t>
            </a:r>
          </a:p>
        </p:txBody>
      </p:sp>
      <p:sp>
        <p:nvSpPr>
          <p:cNvPr id="39" name="Oval 38"/>
          <p:cNvSpPr/>
          <p:nvPr/>
        </p:nvSpPr>
        <p:spPr>
          <a:xfrm>
            <a:off x="2627784" y="2924944"/>
            <a:ext cx="792088" cy="64807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Oval 39"/>
          <p:cNvSpPr/>
          <p:nvPr/>
        </p:nvSpPr>
        <p:spPr>
          <a:xfrm>
            <a:off x="5580112" y="1844824"/>
            <a:ext cx="792088" cy="64807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42" name="Straight Connector 41"/>
          <p:cNvCxnSpPr>
            <a:stCxn id="39" idx="0"/>
          </p:cNvCxnSpPr>
          <p:nvPr/>
        </p:nvCxnSpPr>
        <p:spPr>
          <a:xfrm rot="5400000" flipH="1" flipV="1">
            <a:off x="2861864" y="2438872"/>
            <a:ext cx="648000" cy="324000"/>
          </a:xfrm>
          <a:prstGeom prst="line">
            <a:avLst/>
          </a:prstGeom>
          <a:ln w="25400">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endCxn id="40" idx="1"/>
          </p:cNvCxnSpPr>
          <p:nvPr/>
        </p:nvCxnSpPr>
        <p:spPr>
          <a:xfrm>
            <a:off x="4644008" y="1844824"/>
            <a:ext cx="1052103" cy="94908"/>
          </a:xfrm>
          <a:prstGeom prst="line">
            <a:avLst/>
          </a:prstGeom>
          <a:ln w="25400">
            <a:solidFill>
              <a:srgbClr val="FF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3419872" y="1412776"/>
            <a:ext cx="1152128" cy="9144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00" dirty="0" smtClean="0">
                <a:latin typeface="Arial" pitchFamily="34" charset="0"/>
                <a:cs typeface="Arial" pitchFamily="34" charset="0"/>
              </a:rPr>
              <a:t>Large ”margins </a:t>
            </a:r>
            <a:r>
              <a:rPr lang="da-DK" sz="1000" dirty="0" err="1" smtClean="0">
                <a:latin typeface="Arial" pitchFamily="34" charset="0"/>
                <a:cs typeface="Arial" pitchFamily="34" charset="0"/>
              </a:rPr>
              <a:t>eaters</a:t>
            </a:r>
            <a:r>
              <a:rPr lang="da-DK" sz="1000" dirty="0" smtClean="0">
                <a:latin typeface="Arial" pitchFamily="34" charset="0"/>
                <a:cs typeface="Arial" pitchFamily="34" charset="0"/>
              </a:rPr>
              <a:t>” </a:t>
            </a:r>
            <a:r>
              <a:rPr lang="da-DK" sz="1000" dirty="0" err="1" smtClean="0">
                <a:latin typeface="Arial" pitchFamily="34" charset="0"/>
                <a:cs typeface="Arial" pitchFamily="34" charset="0"/>
              </a:rPr>
              <a:t>like</a:t>
            </a:r>
            <a:r>
              <a:rPr lang="da-DK" sz="1000" dirty="0" smtClean="0">
                <a:latin typeface="Arial" pitchFamily="34" charset="0"/>
                <a:cs typeface="Arial" pitchFamily="34" charset="0"/>
              </a:rPr>
              <a:t> net </a:t>
            </a:r>
            <a:r>
              <a:rPr lang="da-DK" sz="1000" dirty="0" err="1" smtClean="0">
                <a:latin typeface="Arial" pitchFamily="34" charset="0"/>
                <a:cs typeface="Arial" pitchFamily="34" charset="0"/>
              </a:rPr>
              <a:t>exporter</a:t>
            </a:r>
            <a:r>
              <a:rPr lang="da-DK" sz="1000" dirty="0" smtClean="0">
                <a:latin typeface="Arial" pitchFamily="34" charset="0"/>
                <a:cs typeface="Arial" pitchFamily="34" charset="0"/>
              </a:rPr>
              <a:t> &amp; net importer</a:t>
            </a:r>
            <a:endParaRPr lang="da-DK" sz="1000" dirty="0">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5qgUUy6mE6RjP4b2kud7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G7jIQ1qO0iM_0AGpknG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r3qrLXzd0adgfg5z13s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9za88ZQCkOMJ8eX58EQ8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BCHf9rTjU2ipkd0q8Rr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3_45vXfZ0mdrnJEYoaV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Z2sgBwb6ESJg4CvtRLr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OWNDJ8REOOaQshdsYi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9za88ZQCkOMJ8eX58EQ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Bl5qSYMkeTF_YMR_nS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BCHf9rTjU2ipkd0q8Rr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rmkBOyKoEaRN4N8ujfD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2E8IHerT0GcJf6177PQgw"/>
</p:tagLst>
</file>

<file path=ppt/theme/theme1.xml><?xml version="1.0" encoding="utf-8"?>
<a:theme xmlns:a="http://schemas.openxmlformats.org/drawingml/2006/main" name="Damco">
  <a:themeElements>
    <a:clrScheme name="DAMCO">
      <a:dk1>
        <a:srgbClr val="000000"/>
      </a:dk1>
      <a:lt1>
        <a:sysClr val="window" lastClr="FFFFFF"/>
      </a:lt1>
      <a:dk2>
        <a:srgbClr val="000000"/>
      </a:dk2>
      <a:lt2>
        <a:srgbClr val="FFFFFF"/>
      </a:lt2>
      <a:accent1>
        <a:srgbClr val="97C550"/>
      </a:accent1>
      <a:accent2>
        <a:srgbClr val="54AB42"/>
      </a:accent2>
      <a:accent3>
        <a:srgbClr val="398FD1"/>
      </a:accent3>
      <a:accent4>
        <a:srgbClr val="3C5BA3"/>
      </a:accent4>
      <a:accent5>
        <a:srgbClr val="00215B"/>
      </a:accent5>
      <a:accent6>
        <a:srgbClr val="636A70"/>
      </a:accent6>
      <a:hlink>
        <a:srgbClr val="398FD1"/>
      </a:hlink>
      <a:folHlink>
        <a:srgbClr val="97C550"/>
      </a:folHlink>
    </a:clrScheme>
    <a:fontScheme name="Aspek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RFTO_template_04">
  <a:themeElements>
    <a:clrScheme name="DAMCO SCD">
      <a:dk1>
        <a:srgbClr val="231F20"/>
      </a:dk1>
      <a:lt1>
        <a:srgbClr val="FFFFFF"/>
      </a:lt1>
      <a:dk2>
        <a:srgbClr val="231F20"/>
      </a:dk2>
      <a:lt2>
        <a:srgbClr val="97C550"/>
      </a:lt2>
      <a:accent1>
        <a:srgbClr val="54AB42"/>
      </a:accent1>
      <a:accent2>
        <a:srgbClr val="398FD1"/>
      </a:accent2>
      <a:accent3>
        <a:srgbClr val="3C5BA3"/>
      </a:accent3>
      <a:accent4>
        <a:srgbClr val="00215B"/>
      </a:accent4>
      <a:accent5>
        <a:srgbClr val="FFCF31"/>
      </a:accent5>
      <a:accent6>
        <a:srgbClr val="EF4135"/>
      </a:accent6>
      <a:hlink>
        <a:srgbClr val="E2DBD3"/>
      </a:hlink>
      <a:folHlink>
        <a:srgbClr val="B2A797"/>
      </a:folHlink>
    </a:clrScheme>
    <a:fontScheme name="Damco 2010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blank">
  <a:themeElements>
    <a:clrScheme name="6_blank 1">
      <a:dk1>
        <a:srgbClr val="231F20"/>
      </a:dk1>
      <a:lt1>
        <a:srgbClr val="FFFFFF"/>
      </a:lt1>
      <a:dk2>
        <a:srgbClr val="231F20"/>
      </a:dk2>
      <a:lt2>
        <a:srgbClr val="97C550"/>
      </a:lt2>
      <a:accent1>
        <a:srgbClr val="3C5BA3"/>
      </a:accent1>
      <a:accent2>
        <a:srgbClr val="EF4135"/>
      </a:accent2>
      <a:accent3>
        <a:srgbClr val="FFFFFF"/>
      </a:accent3>
      <a:accent4>
        <a:srgbClr val="1C191A"/>
      </a:accent4>
      <a:accent5>
        <a:srgbClr val="AFB5CE"/>
      </a:accent5>
      <a:accent6>
        <a:srgbClr val="D93A2F"/>
      </a:accent6>
      <a:hlink>
        <a:srgbClr val="54AB42"/>
      </a:hlink>
      <a:folHlink>
        <a:srgbClr val="398FD1"/>
      </a:folHlink>
    </a:clrScheme>
    <a:fontScheme name="6_blank">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6_blank 1">
        <a:dk1>
          <a:srgbClr val="231F20"/>
        </a:dk1>
        <a:lt1>
          <a:srgbClr val="FFFFFF"/>
        </a:lt1>
        <a:dk2>
          <a:srgbClr val="231F20"/>
        </a:dk2>
        <a:lt2>
          <a:srgbClr val="97C550"/>
        </a:lt2>
        <a:accent1>
          <a:srgbClr val="3C5BA3"/>
        </a:accent1>
        <a:accent2>
          <a:srgbClr val="EF4135"/>
        </a:accent2>
        <a:accent3>
          <a:srgbClr val="FFFFFF"/>
        </a:accent3>
        <a:accent4>
          <a:srgbClr val="1C191A"/>
        </a:accent4>
        <a:accent5>
          <a:srgbClr val="AFB5CE"/>
        </a:accent5>
        <a:accent6>
          <a:srgbClr val="D93A2F"/>
        </a:accent6>
        <a:hlink>
          <a:srgbClr val="54AB42"/>
        </a:hlink>
        <a:folHlink>
          <a:srgbClr val="398FD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amco.pot</Template>
  <TotalTime>596</TotalTime>
  <Words>1922</Words>
  <Application>Microsoft Office PowerPoint</Application>
  <PresentationFormat>On-screen Show (4:3)</PresentationFormat>
  <Paragraphs>299</Paragraphs>
  <Slides>19</Slides>
  <Notes>15</Notes>
  <HiddenSlides>2</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24" baseType="lpstr">
      <vt:lpstr>Damco</vt:lpstr>
      <vt:lpstr>RFTO_template_04</vt:lpstr>
      <vt:lpstr>6_blank</vt:lpstr>
      <vt:lpstr>think-cell Slide</vt:lpstr>
      <vt:lpstr>Photo Editor Photo</vt:lpstr>
      <vt:lpstr>DAMCO  FRESH PRODUCE  DIRECT</vt:lpstr>
      <vt:lpstr>       Porque trabajar con DAMCO?    Esta usted interesado en reducir los costos en la cadena de suministro, mejorar la calidad, el tiempo de vida de sus productos frescos en el destino final y asegurar una entrega confiable?</vt:lpstr>
      <vt:lpstr>              DAMCO ofrece una vertical integrada de servicios logísticos (Puerta – Puerta) desde el origen del producto (productores, empacadores, embarcadores) hasta el punto de venta con su red de oficinas alrededor del mundo    Estos servicios son - En Origen: BKA, LSS, FF, CHB, OCE &amp; Seguros de carga.  - En Destino: CHB, LSS, Cross Dock, Delivery &amp; QC.  </vt:lpstr>
      <vt:lpstr>La Manera mas rápida de incrementar su rentabilidad es comprando directamente de la fuente.</vt:lpstr>
      <vt:lpstr>La Logistica de puerta a puerta para entregas directas a detallistas y mayoristas alrededor del mundo.</vt:lpstr>
      <vt:lpstr>Damco Fresh Produce Direct ayuda a optimizar la cadena Logistica mientras reduce el canal mayorista. </vt:lpstr>
      <vt:lpstr>Alternativamente Damco Fresh Produce Direct puede optimizar al exportador la entregas a los CD de sus clientes</vt:lpstr>
      <vt:lpstr>Deje de recibir en su puerta Comience a comprar en Origen</vt:lpstr>
      <vt:lpstr>Se obtienen ganancias adicionales al incrementar la visibilidad y control a lo largo de la cadena</vt:lpstr>
      <vt:lpstr>Damco provee todos los componentes necesarios para asegurar la Logistica mas eficiente puerta a puerta</vt:lpstr>
      <vt:lpstr>Embarcando a tiempo</vt:lpstr>
      <vt:lpstr>Administrando los diferentes modos de transporte</vt:lpstr>
      <vt:lpstr>Habilidad para balancear costos, Huella de CO2 y tiempo de entrega</vt:lpstr>
      <vt:lpstr>Entregando en el lugar correcto y a tiempo.</vt:lpstr>
      <vt:lpstr>Slide 15</vt:lpstr>
      <vt:lpstr>Estamos localizados tan cerca de su cliente potencial así como de usted</vt:lpstr>
      <vt:lpstr>Nuestros Principales Clientes en las diferentes industrias.</vt:lpstr>
      <vt:lpstr>Nuestra red de alianzas en transporte</vt:lpstr>
      <vt:lpstr>Gracias!!</vt:lpstr>
    </vt:vector>
  </TitlesOfParts>
  <Company>Quadri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ark Ronan</dc:creator>
  <cp:lastModifiedBy>oop001</cp:lastModifiedBy>
  <cp:revision>88</cp:revision>
  <dcterms:created xsi:type="dcterms:W3CDTF">2010-08-29T05:52:17Z</dcterms:created>
  <dcterms:modified xsi:type="dcterms:W3CDTF">2011-07-29T17:03:35Z</dcterms:modified>
</cp:coreProperties>
</file>